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tags/tag32.xml" ContentType="application/vnd.openxmlformats-officedocument.presentationml.tags+xml"/>
  <Override PartName="/ppt/notesSlides/notesSlide2.xml" ContentType="application/vnd.openxmlformats-officedocument.presentationml.notesSlide+xml"/>
  <Override PartName="/ppt/tags/tag33.xml" ContentType="application/vnd.openxmlformats-officedocument.presentationml.tags+xml"/>
  <Override PartName="/ppt/notesSlides/notesSlide3.xml" ContentType="application/vnd.openxmlformats-officedocument.presentationml.notesSlide+xml"/>
  <Override PartName="/ppt/charts/chart6.xml" ContentType="application/vnd.openxmlformats-officedocument.drawingml.chart+xml"/>
  <Override PartName="/ppt/tags/tag34.xml" ContentType="application/vnd.openxmlformats-officedocument.presentationml.tags+xml"/>
  <Override PartName="/ppt/charts/chart7.xml" ContentType="application/vnd.openxmlformats-officedocument.drawingml.chart+xml"/>
  <Override PartName="/ppt/tags/tag35.xml" ContentType="application/vnd.openxmlformats-officedocument.presentationml.tags+xml"/>
  <Override PartName="/ppt/charts/chart8.xml" ContentType="application/vnd.openxmlformats-officedocument.drawingml.chart+xml"/>
  <Override PartName="/ppt/tags/tag36.xml" ContentType="application/vnd.openxmlformats-officedocument.presentationml.tags+xml"/>
  <Override PartName="/ppt/notesSlides/notesSlide4.xml" ContentType="application/vnd.openxmlformats-officedocument.presentationml.notesSlide+xml"/>
  <Override PartName="/ppt/tags/tag37.xml" ContentType="application/vnd.openxmlformats-officedocument.presentationml.tags+xml"/>
  <Override PartName="/ppt/charts/chart9.xml" ContentType="application/vnd.openxmlformats-officedocument.drawingml.chart+xml"/>
  <Override PartName="/ppt/charts/chart10.xml" ContentType="application/vnd.openxmlformats-officedocument.drawingml.chart+xml"/>
  <Override PartName="/ppt/tags/tag38.xml" ContentType="application/vnd.openxmlformats-officedocument.presentationml.tags+xml"/>
  <Override PartName="/ppt/charts/chart11.xml" ContentType="application/vnd.openxmlformats-officedocument.drawingml.chart+xml"/>
  <Override PartName="/ppt/tags/tag39.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tags/tag40.xml" ContentType="application/vnd.openxmlformats-officedocument.presentationml.tags+xml"/>
  <Override PartName="/ppt/notesSlides/notesSlide5.xml" ContentType="application/vnd.openxmlformats-officedocument.presentationml.notesSlide+xml"/>
  <Override PartName="/ppt/tags/tag41.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42.xml" ContentType="application/vnd.openxmlformats-officedocument.presentationml.tags+xml"/>
  <Override PartName="/ppt/charts/chart19.xml" ContentType="application/vnd.openxmlformats-officedocument.drawingml.chart+xml"/>
  <Override PartName="/ppt/tags/tag43.xml" ContentType="application/vnd.openxmlformats-officedocument.presentationml.tags+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44.xml" ContentType="application/vnd.openxmlformats-officedocument.presentationml.tags+xml"/>
  <Override PartName="/ppt/notesSlides/notesSlide6.xml" ContentType="application/vnd.openxmlformats-officedocument.presentationml.notesSlide+xml"/>
  <Override PartName="/ppt/tags/tag45.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tags/tag46.xml" ContentType="application/vnd.openxmlformats-officedocument.presentationml.tags+xml"/>
  <Override PartName="/ppt/charts/chart29.xml" ContentType="application/vnd.openxmlformats-officedocument.drawingml.chart+xml"/>
  <Override PartName="/ppt/tags/tag47.xml" ContentType="application/vnd.openxmlformats-officedocument.presentationml.tags+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4" r:id="rId4"/>
  </p:sldMasterIdLst>
  <p:notesMasterIdLst>
    <p:notesMasterId r:id="rId25"/>
  </p:notesMasterIdLst>
  <p:sldIdLst>
    <p:sldId id="2147475184" r:id="rId5"/>
    <p:sldId id="2147475185" r:id="rId6"/>
    <p:sldId id="2147475186" r:id="rId7"/>
    <p:sldId id="2147475187" r:id="rId8"/>
    <p:sldId id="2147475188" r:id="rId9"/>
    <p:sldId id="2147475189" r:id="rId10"/>
    <p:sldId id="2147475190" r:id="rId11"/>
    <p:sldId id="2147475191" r:id="rId12"/>
    <p:sldId id="2147475192" r:id="rId13"/>
    <p:sldId id="2147475193" r:id="rId14"/>
    <p:sldId id="2147475194" r:id="rId15"/>
    <p:sldId id="2147475195" r:id="rId16"/>
    <p:sldId id="2147475196" r:id="rId17"/>
    <p:sldId id="2147475197" r:id="rId18"/>
    <p:sldId id="2147475198" r:id="rId19"/>
    <p:sldId id="2147475199" r:id="rId20"/>
    <p:sldId id="2147475200" r:id="rId21"/>
    <p:sldId id="2147475201" r:id="rId22"/>
    <p:sldId id="2147475202" r:id="rId23"/>
    <p:sldId id="2147475203" r:id="rId2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Kirkland Dispo" id="{7B45C2BB-42E2-4B94-A3E7-10E0DCBA1748}">
          <p14:sldIdLst>
            <p14:sldId id="2147475184"/>
            <p14:sldId id="2147475185"/>
            <p14:sldId id="2147475186"/>
            <p14:sldId id="2147475187"/>
          </p14:sldIdLst>
        </p14:section>
        <p14:section name="Kirkland Razor" id="{A13A5A5E-537C-47C3-97D0-6A4EE3AC5D81}">
          <p14:sldIdLst>
            <p14:sldId id="2147475188"/>
            <p14:sldId id="2147475189"/>
            <p14:sldId id="2147475190"/>
            <p14:sldId id="2147475191"/>
          </p14:sldIdLst>
        </p14:section>
        <p14:section name="Schick Blade" id="{83FE4148-0614-4433-8C6A-194ECFD75B87}">
          <p14:sldIdLst>
            <p14:sldId id="2147475192"/>
            <p14:sldId id="2147475193"/>
            <p14:sldId id="2147475194"/>
            <p14:sldId id="2147475195"/>
          </p14:sldIdLst>
        </p14:section>
        <p14:section name="Schick Dispo" id="{10400796-D4A8-4571-BB1B-AA111093D67E}">
          <p14:sldIdLst>
            <p14:sldId id="2147475196"/>
            <p14:sldId id="2147475197"/>
            <p14:sldId id="2147475198"/>
            <p14:sldId id="2147475199"/>
          </p14:sldIdLst>
        </p14:section>
        <p14:section name="Schick Razor" id="{1378A040-3C34-4BD7-95E9-83EAC78116EE}">
          <p14:sldIdLst>
            <p14:sldId id="2147475200"/>
            <p14:sldId id="2147475201"/>
            <p14:sldId id="2147475202"/>
            <p14:sldId id="2147475203"/>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61C379-29A0-4008-AA74-7560A203FDDD}" v="98" dt="2025-07-24T09:00:02.1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122" d="100"/>
          <a:sy n="122" d="100"/>
        </p:scale>
        <p:origin x="355" y="43"/>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 Id="rId30"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Kirkland Disposable Razors 20 pack </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spPr>
              <a:solidFill>
                <a:srgbClr val="006C6D"/>
              </a:solidFill>
            </c:spPr>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r>
                      <a:rPr lang="fr-FR" sz="500">
                        <a:solidFill>
                          <a:srgbClr val="006C6D"/>
                        </a:solidFill>
                      </a:rPr>
                      <a:t>Kirkland Disposable Razors 20 pack </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Mach 3 Advanced Refills 20 Pack</c:v>
                </c:pt>
                <c:pt idx="2">
                  <c:v>Gillette Custom Plus 3 Sensitive Disposable Razors 30 Pack</c:v>
                </c:pt>
                <c:pt idx="3">
                  <c:v>Kirkland Disposable Razors 20 pack </c:v>
                </c:pt>
                <c:pt idx="4">
                  <c:v>None Razors</c:v>
                </c:pt>
                <c:pt idx="5">
                  <c:v>Harry's Razor Set Chrome Edition 1 Handle + 13 Cartridges</c:v>
                </c:pt>
              </c:strCache>
            </c:strRef>
          </c:cat>
          <c:val>
            <c:numRef>
              <c:f>Sheet1!$B$2:$B$7</c:f>
              <c:numCache>
                <c:formatCode>General</c:formatCode>
                <c:ptCount val="6"/>
                <c:pt idx="0">
                  <c:v>0.61661475995393766</c:v>
                </c:pt>
                <c:pt idx="1">
                  <c:v>0.38338524004606234</c:v>
                </c:pt>
                <c:pt idx="2">
                  <c:v>0.35577270790922322</c:v>
                </c:pt>
                <c:pt idx="3">
                  <c:v>0.26486839760964004</c:v>
                </c:pt>
                <c:pt idx="4">
                  <c:v>0.24035397268791103</c:v>
                </c:pt>
                <c:pt idx="5">
                  <c:v>0.13900492179322577</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3 Ultra Sensitive Refills 20 Pack</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006C6D"/>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r>
                      <a:rPr lang="en-US" sz="500">
                        <a:solidFill>
                          <a:srgbClr val="006C6D"/>
                        </a:solidFill>
                      </a:rPr>
                      <a:t>Schick Hydro 3 Ultra Sensitive Refills 20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Custom Plus 3 Sensitive Disposable Razors 30 Pack</c:v>
                </c:pt>
                <c:pt idx="1">
                  <c:v>Gillette Proglide Plus Refills 16 Pack</c:v>
                </c:pt>
                <c:pt idx="2">
                  <c:v>None Razors</c:v>
                </c:pt>
                <c:pt idx="3">
                  <c:v>Gillette Mach 3 Advanced Refills 20 Pack</c:v>
                </c:pt>
                <c:pt idx="4">
                  <c:v>Schick Hydro 3 Ultra Sensitive Refills 20 Pack</c:v>
                </c:pt>
                <c:pt idx="5">
                  <c:v>Harry's Razor Set Chrome Edition 1 Handle + 13 Cartridges</c:v>
                </c:pt>
              </c:strCache>
            </c:strRef>
          </c:cat>
          <c:val>
            <c:numRef>
              <c:f>Sheet1!$B$2:$B$7</c:f>
              <c:numCache>
                <c:formatCode>General</c:formatCode>
                <c:ptCount val="6"/>
                <c:pt idx="0">
                  <c:v>0.51972581924980665</c:v>
                </c:pt>
                <c:pt idx="1">
                  <c:v>0.47872706973683826</c:v>
                </c:pt>
                <c:pt idx="2">
                  <c:v>0.30137091989253156</c:v>
                </c:pt>
                <c:pt idx="3">
                  <c:v>0.29526355654427316</c:v>
                </c:pt>
                <c:pt idx="4">
                  <c:v>0.22600937371888863</c:v>
                </c:pt>
                <c:pt idx="5">
                  <c:v>0.17890326085766167</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Schick Blade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chick Hydro 5 Blade Sensitive Refills 16 Pack @24.99</c:v>
                </c:pt>
                <c:pt idx="1">
                  <c:v>Schick Hydro 3 Ultra Sensitive Refills 20 Pack @16.99</c:v>
                </c:pt>
              </c:strCache>
            </c:strRef>
          </c:cat>
          <c:val>
            <c:numRef>
              <c:f>Sheet1!$B$2:$B$3</c:f>
              <c:numCache>
                <c:formatCode>General</c:formatCode>
                <c:ptCount val="2"/>
                <c:pt idx="0">
                  <c:v>100</c:v>
                </c:pt>
                <c:pt idx="1">
                  <c:v>100</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Schick Blade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chick Hydro 5 Blade Sensitive Refills 16 Pack @24.99</c:v>
                </c:pt>
                <c:pt idx="1">
                  <c:v>Schick Hydro 3 Ultra Sensitive Refills 20 Pack @16.99</c:v>
                </c:pt>
              </c:strCache>
            </c:strRef>
          </c:cat>
          <c:val>
            <c:numRef>
              <c:f>Sheet1!$C$2:$C$3</c:f>
              <c:numCache>
                <c:formatCode>General</c:formatCode>
                <c:ptCount val="2"/>
                <c:pt idx="0">
                  <c:v>100</c:v>
                </c:pt>
                <c:pt idx="1">
                  <c:v>100</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Schick Blade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chick Hydro 5 Blade Sensitive Refills 16 Pack @24.99</c:v>
                </c:pt>
                <c:pt idx="1">
                  <c:v>Schick Hydro 3 Ultra Sensitive Refills 20 Pack @16.99</c:v>
                </c:pt>
              </c:strCache>
            </c:strRef>
          </c:cat>
          <c:val>
            <c:numRef>
              <c:f>Sheet1!$D$2:$D$3</c:f>
              <c:numCache>
                <c:formatCode>General</c:formatCode>
                <c:ptCount val="2"/>
                <c:pt idx="0">
                  <c:v>100</c:v>
                </c:pt>
                <c:pt idx="1">
                  <c:v>100</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Schick Hydro 5 Blade Sensitive Refills 16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Proglide Plus Refills 16 Pack</c:v>
                </c:pt>
                <c:pt idx="1">
                  <c:v>Gillette Mach 3 Advanced Refills 20 Pack</c:v>
                </c:pt>
                <c:pt idx="2">
                  <c:v>Schick Xtreme 3 Sensitive Disposable Razors 20 Pack</c:v>
                </c:pt>
                <c:pt idx="3">
                  <c:v>Schick Xtreme 3 Sensitive Disposable Razors 30 Pack</c:v>
                </c:pt>
                <c:pt idx="4">
                  <c:v>Schick Xtreme 5 Disposable Razors 9 Pack</c:v>
                </c:pt>
                <c:pt idx="5">
                  <c:v>Kirkland Disposable Razors 20 pack </c:v>
                </c:pt>
                <c:pt idx="6">
                  <c:v>Schick Xtreme 2 Sensitive Disposable Razors 48 Pack</c:v>
                </c:pt>
                <c:pt idx="7">
                  <c:v>Schick Xtreme 2 Sensitive Disposable Razors 60 Pack</c:v>
                </c:pt>
                <c:pt idx="8">
                  <c:v>Gillette Sensor 2 Plus Disposable Razors 52 Pack</c:v>
                </c:pt>
                <c:pt idx="9">
                  <c:v>Gillette Sensor 3 Sensitive Disposable Razors 24 Pack</c:v>
                </c:pt>
                <c:pt idx="10">
                  <c:v>Bic Flex 5 Disposable Razors 9 Pack </c:v>
                </c:pt>
              </c:strCache>
            </c:strRef>
          </c:cat>
          <c:val>
            <c:numRef>
              <c:f>Sheet1!$B$2:$B$12</c:f>
              <c:numCache>
                <c:formatCode>General</c:formatCode>
                <c:ptCount val="11"/>
                <c:pt idx="0">
                  <c:v>0.61851791673115797</c:v>
                </c:pt>
                <c:pt idx="1">
                  <c:v>0.38148208326884153</c:v>
                </c:pt>
                <c:pt idx="2">
                  <c:v>0</c:v>
                </c:pt>
                <c:pt idx="3">
                  <c:v>0</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Schick Hydro 3 Ultra Sensitive Refills 20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Proglide Plus Refills 16 Pack</c:v>
                </c:pt>
                <c:pt idx="1">
                  <c:v>Gillette Mach 3 Advanced Refills 20 Pack</c:v>
                </c:pt>
                <c:pt idx="2">
                  <c:v>Schick Xtreme 3 Sensitive Disposable Razors 20 Pack</c:v>
                </c:pt>
                <c:pt idx="3">
                  <c:v>Schick Xtreme 3 Sensitive Disposable Razors 30 Pack</c:v>
                </c:pt>
                <c:pt idx="4">
                  <c:v>Schick Xtreme 5 Disposable Razors 9 Pack</c:v>
                </c:pt>
                <c:pt idx="5">
                  <c:v>Kirkland Disposable Razors 20 pack </c:v>
                </c:pt>
                <c:pt idx="6">
                  <c:v>Schick Xtreme 2 Sensitive Disposable Razors 48 Pack</c:v>
                </c:pt>
                <c:pt idx="7">
                  <c:v>Schick Xtreme 2 Sensitive Disposable Razors 60 Pack</c:v>
                </c:pt>
                <c:pt idx="8">
                  <c:v>Gillette Sensor 2 Plus Disposable Razors 52 Pack</c:v>
                </c:pt>
                <c:pt idx="9">
                  <c:v>Gillette Sensor 3 Sensitive Disposable Razors 24 Pack</c:v>
                </c:pt>
                <c:pt idx="10">
                  <c:v>Bic Flex 5 Disposable Razors 9 Pack </c:v>
                </c:pt>
              </c:strCache>
            </c:strRef>
          </c:cat>
          <c:val>
            <c:numRef>
              <c:f>Sheet1!$B$2:$B$12</c:f>
              <c:numCache>
                <c:formatCode>General</c:formatCode>
                <c:ptCount val="11"/>
                <c:pt idx="0">
                  <c:v>0.61851791673115808</c:v>
                </c:pt>
                <c:pt idx="1">
                  <c:v>0.38148208326884098</c:v>
                </c:pt>
                <c:pt idx="2">
                  <c:v>0</c:v>
                </c:pt>
                <c:pt idx="3">
                  <c:v>0</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Xtreme 3 Sensitive Disposable Razors 20 Pack</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spPr>
              <a:solidFill>
                <a:srgbClr val="006C6D"/>
              </a:solidFill>
            </c:spPr>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r>
                      <a:rPr lang="en-US" sz="500">
                        <a:solidFill>
                          <a:srgbClr val="006C6D"/>
                        </a:solidFill>
                      </a:rPr>
                      <a:t>Schick Xtreme 3 Sensitive Disposable Razors 20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Mach 3 Advanced Refills 20 Pack</c:v>
                </c:pt>
                <c:pt idx="2">
                  <c:v>Gillette Custom Plus 3 Sensitive Disposable Razors 30 Pack</c:v>
                </c:pt>
                <c:pt idx="3">
                  <c:v>Schick Xtreme 3 Sensitive Disposable Razors 20 Pack</c:v>
                </c:pt>
                <c:pt idx="4">
                  <c:v>None Razors</c:v>
                </c:pt>
                <c:pt idx="5">
                  <c:v>Harry's Razor Set Chrome Edition 1 Handle + 13 Cartridges</c:v>
                </c:pt>
              </c:strCache>
            </c:strRef>
          </c:cat>
          <c:val>
            <c:numRef>
              <c:f>Sheet1!$B$2:$B$7</c:f>
              <c:numCache>
                <c:formatCode>General</c:formatCode>
                <c:ptCount val="6"/>
                <c:pt idx="0">
                  <c:v>0.61546209253451079</c:v>
                </c:pt>
                <c:pt idx="1">
                  <c:v>0.38453790746548921</c:v>
                </c:pt>
                <c:pt idx="2">
                  <c:v>0.34541372612421328</c:v>
                </c:pt>
                <c:pt idx="3">
                  <c:v>0.29402310083593247</c:v>
                </c:pt>
                <c:pt idx="4">
                  <c:v>0.22714335327795107</c:v>
                </c:pt>
                <c:pt idx="5">
                  <c:v>0.13341981976190317</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Xtreme 3 Sensitive Disposable Razors 30 Pack</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006C6D"/>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r>
                      <a:rPr lang="en-US" sz="500">
                        <a:solidFill>
                          <a:srgbClr val="006C6D"/>
                        </a:solidFill>
                      </a:rPr>
                      <a:t>Schick Xtreme 3 Sensitive Disposable Razors 30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Mach 3 Advanced Refills 20 Pack</c:v>
                </c:pt>
                <c:pt idx="2">
                  <c:v>Gillette Custom Plus 3 Sensitive Disposable Razors 30 Pack</c:v>
                </c:pt>
                <c:pt idx="3">
                  <c:v>None Razors</c:v>
                </c:pt>
                <c:pt idx="4">
                  <c:v>Schick Xtreme 3 Sensitive Disposable Razors 30 Pack</c:v>
                </c:pt>
                <c:pt idx="5">
                  <c:v>Harry's Razor Set Chrome Edition 1 Handle + 13 Cartridges</c:v>
                </c:pt>
              </c:strCache>
            </c:strRef>
          </c:cat>
          <c:val>
            <c:numRef>
              <c:f>Sheet1!$B$2:$B$7</c:f>
              <c:numCache>
                <c:formatCode>General</c:formatCode>
                <c:ptCount val="6"/>
                <c:pt idx="0">
                  <c:v>0.61682191451782875</c:v>
                </c:pt>
                <c:pt idx="1">
                  <c:v>0.38317808548217125</c:v>
                </c:pt>
                <c:pt idx="2">
                  <c:v>0.35290414889495375</c:v>
                </c:pt>
                <c:pt idx="3">
                  <c:v>0.25498164144607405</c:v>
                </c:pt>
                <c:pt idx="4">
                  <c:v>0.24608709953699362</c:v>
                </c:pt>
                <c:pt idx="5">
                  <c:v>0.1460271101219785</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Xtreme 2 Sensitive Disposable Razors 48 Pack</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006C6D"/>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r>
                      <a:rPr lang="en-US" sz="500">
                        <a:solidFill>
                          <a:srgbClr val="006C6D"/>
                        </a:solidFill>
                      </a:rPr>
                      <a:t>Schick Xtreme 2 Sensitive Disposable Razors 48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Mach 3 Advanced Refills 20 Pack</c:v>
                </c:pt>
                <c:pt idx="2">
                  <c:v>Gillette Custom Plus 3 Sensitive Disposable Razors 30 Pack</c:v>
                </c:pt>
                <c:pt idx="3">
                  <c:v>None Razors</c:v>
                </c:pt>
                <c:pt idx="4">
                  <c:v>Schick Xtreme 2 Sensitive Disposable Razors 48 Pack</c:v>
                </c:pt>
                <c:pt idx="5">
                  <c:v>Harry's Razor Set Chrome Edition 1 Handle + 13 Cartridges</c:v>
                </c:pt>
              </c:strCache>
            </c:strRef>
          </c:cat>
          <c:val>
            <c:numRef>
              <c:f>Sheet1!$B$2:$B$7</c:f>
              <c:numCache>
                <c:formatCode>General</c:formatCode>
                <c:ptCount val="6"/>
                <c:pt idx="0">
                  <c:v>0.61700030419285812</c:v>
                </c:pt>
                <c:pt idx="1">
                  <c:v>0.38299969580714177</c:v>
                </c:pt>
                <c:pt idx="2">
                  <c:v>0.36843110392964262</c:v>
                </c:pt>
                <c:pt idx="3">
                  <c:v>0.25175366702442353</c:v>
                </c:pt>
                <c:pt idx="4">
                  <c:v>0.24069379684751988</c:v>
                </c:pt>
                <c:pt idx="5">
                  <c:v>0.13912143219841419</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Xtreme 2 Sensitive Disposable Razors 60 Pack</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006C6D"/>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AEABAB"/>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AEABAB"/>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extLst>
              <c:ext xmlns:c16="http://schemas.microsoft.com/office/drawing/2014/chart" uri="{C3380CC4-5D6E-409C-BE32-E72D297353CC}">
                <c16:uniqueId val="{00000065-999B-42C0-A7D9-A2057CE05A51}"/>
              </c:ext>
            </c:extLst>
          </c:dPt>
          <c:dPt>
            <c:idx val="51"/>
            <c:invertIfNegative val="1"/>
            <c:bubble3D val="0"/>
            <c:spPr>
              <a:solidFill>
                <a:srgbClr val="AEABAB"/>
              </a:solidFill>
            </c:spPr>
            <c:extLst>
              <c:ext xmlns:c16="http://schemas.microsoft.com/office/drawing/2014/chart" uri="{C3380CC4-5D6E-409C-BE32-E72D297353CC}">
                <c16:uniqueId val="{00000067-999B-42C0-A7D9-A2057CE05A51}"/>
              </c:ext>
            </c:extLst>
          </c:dPt>
          <c:dPt>
            <c:idx val="52"/>
            <c:invertIfNegative val="1"/>
            <c:bubble3D val="0"/>
            <c:spPr>
              <a:solidFill>
                <a:srgbClr val="AEABAB"/>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r>
                      <a:rPr lang="en-US" sz="500">
                        <a:solidFill>
                          <a:srgbClr val="006C6D"/>
                        </a:solidFill>
                      </a:rPr>
                      <a:t>Schick Xtreme 2 Sensitive Disposable Razors 60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Custom Plus 3 Sensitive Disposable Razors 30 Pack</c:v>
                </c:pt>
                <c:pt idx="2">
                  <c:v>Gillette Mach 3 Advanced Refills 20 Pack</c:v>
                </c:pt>
                <c:pt idx="3">
                  <c:v>None Razors</c:v>
                </c:pt>
                <c:pt idx="4">
                  <c:v>Schick Xtreme 2 Sensitive Disposable Razors 60 Pack</c:v>
                </c:pt>
                <c:pt idx="5">
                  <c:v>Harry's Razor Set Chrome Edition 1 Handle + 13 Cartridges</c:v>
                </c:pt>
              </c:strCache>
            </c:strRef>
          </c:cat>
          <c:val>
            <c:numRef>
              <c:f>Sheet1!$B$2:$B$7</c:f>
              <c:numCache>
                <c:formatCode>General</c:formatCode>
                <c:ptCount val="6"/>
                <c:pt idx="0">
                  <c:v>0.61713733276958471</c:v>
                </c:pt>
                <c:pt idx="1">
                  <c:v>0.3839015575132797</c:v>
                </c:pt>
                <c:pt idx="2">
                  <c:v>0.38286266723041534</c:v>
                </c:pt>
                <c:pt idx="3">
                  <c:v>0.26696313057087451</c:v>
                </c:pt>
                <c:pt idx="4">
                  <c:v>0.20007849298690297</c:v>
                </c:pt>
                <c:pt idx="5">
                  <c:v>0.14905681892894296</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Xtreme 5 Disposable Razors 9 Pack</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83E0-4716-877A-8084D4846F88}"/>
              </c:ext>
            </c:extLst>
          </c:dPt>
          <c:dPt>
            <c:idx val="1"/>
            <c:invertIfNegative val="1"/>
            <c:bubble3D val="0"/>
            <c:spPr>
              <a:solidFill>
                <a:srgbClr val="AEABAB"/>
              </a:solidFill>
            </c:spPr>
            <c:extLst>
              <c:ext xmlns:c16="http://schemas.microsoft.com/office/drawing/2014/chart" uri="{C3380CC4-5D6E-409C-BE32-E72D297353CC}">
                <c16:uniqueId val="{00000003-83E0-4716-877A-8084D4846F88}"/>
              </c:ext>
            </c:extLst>
          </c:dPt>
          <c:dPt>
            <c:idx val="2"/>
            <c:invertIfNegative val="1"/>
            <c:bubble3D val="0"/>
            <c:spPr>
              <a:solidFill>
                <a:srgbClr val="AEABAB"/>
              </a:solidFill>
            </c:spPr>
            <c:extLst>
              <c:ext xmlns:c16="http://schemas.microsoft.com/office/drawing/2014/chart" uri="{C3380CC4-5D6E-409C-BE32-E72D297353CC}">
                <c16:uniqueId val="{00000005-83E0-4716-877A-8084D4846F88}"/>
              </c:ext>
            </c:extLst>
          </c:dPt>
          <c:dPt>
            <c:idx val="3"/>
            <c:invertIfNegative val="0"/>
            <c:bubble3D val="0"/>
            <c:spPr>
              <a:solidFill>
                <a:srgbClr val="006C6D"/>
              </a:solidFill>
            </c:spPr>
            <c:extLst>
              <c:ext xmlns:c16="http://schemas.microsoft.com/office/drawing/2014/chart" uri="{C3380CC4-5D6E-409C-BE32-E72D297353CC}">
                <c16:uniqueId val="{00000007-83E0-4716-877A-8084D4846F88}"/>
              </c:ext>
            </c:extLst>
          </c:dPt>
          <c:dPt>
            <c:idx val="4"/>
            <c:invertIfNegative val="1"/>
            <c:bubble3D val="0"/>
            <c:spPr>
              <a:solidFill>
                <a:srgbClr val="AEABAB"/>
              </a:solidFill>
            </c:spPr>
            <c:extLst>
              <c:ext xmlns:c16="http://schemas.microsoft.com/office/drawing/2014/chart" uri="{C3380CC4-5D6E-409C-BE32-E72D297353CC}">
                <c16:uniqueId val="{00000009-83E0-4716-877A-8084D4846F88}"/>
              </c:ext>
            </c:extLst>
          </c:dPt>
          <c:dPt>
            <c:idx val="5"/>
            <c:invertIfNegative val="1"/>
            <c:bubble3D val="0"/>
            <c:spPr>
              <a:solidFill>
                <a:srgbClr val="AEABAB"/>
              </a:solidFill>
            </c:spPr>
            <c:extLst>
              <c:ext xmlns:c16="http://schemas.microsoft.com/office/drawing/2014/chart" uri="{C3380CC4-5D6E-409C-BE32-E72D297353CC}">
                <c16:uniqueId val="{0000000B-83E0-4716-877A-8084D4846F88}"/>
              </c:ext>
            </c:extLst>
          </c:dPt>
          <c:dPt>
            <c:idx val="6"/>
            <c:invertIfNegative val="1"/>
            <c:bubble3D val="0"/>
            <c:spPr>
              <a:solidFill>
                <a:srgbClr val="AEABAB"/>
              </a:solidFill>
            </c:spPr>
            <c:extLst>
              <c:ext xmlns:c16="http://schemas.microsoft.com/office/drawing/2014/chart" uri="{C3380CC4-5D6E-409C-BE32-E72D297353CC}">
                <c16:uniqueId val="{0000000D-83E0-4716-877A-8084D4846F88}"/>
              </c:ext>
            </c:extLst>
          </c:dPt>
          <c:dPt>
            <c:idx val="7"/>
            <c:invertIfNegative val="1"/>
            <c:bubble3D val="0"/>
            <c:spPr>
              <a:solidFill>
                <a:srgbClr val="AEABAB"/>
              </a:solidFill>
            </c:spPr>
            <c:extLst>
              <c:ext xmlns:c16="http://schemas.microsoft.com/office/drawing/2014/chart" uri="{C3380CC4-5D6E-409C-BE32-E72D297353CC}">
                <c16:uniqueId val="{0000000F-83E0-4716-877A-8084D4846F88}"/>
              </c:ext>
            </c:extLst>
          </c:dPt>
          <c:dPt>
            <c:idx val="8"/>
            <c:invertIfNegative val="1"/>
            <c:bubble3D val="0"/>
            <c:spPr>
              <a:solidFill>
                <a:srgbClr val="AEABAB"/>
              </a:solidFill>
            </c:spPr>
            <c:extLst>
              <c:ext xmlns:c16="http://schemas.microsoft.com/office/drawing/2014/chart" uri="{C3380CC4-5D6E-409C-BE32-E72D297353CC}">
                <c16:uniqueId val="{00000011-83E0-4716-877A-8084D4846F88}"/>
              </c:ext>
            </c:extLst>
          </c:dPt>
          <c:dPt>
            <c:idx val="9"/>
            <c:invertIfNegative val="1"/>
            <c:bubble3D val="0"/>
            <c:spPr>
              <a:solidFill>
                <a:srgbClr val="AEABAB"/>
              </a:solidFill>
            </c:spPr>
            <c:extLst>
              <c:ext xmlns:c16="http://schemas.microsoft.com/office/drawing/2014/chart" uri="{C3380CC4-5D6E-409C-BE32-E72D297353CC}">
                <c16:uniqueId val="{00000013-83E0-4716-877A-8084D4846F88}"/>
              </c:ext>
            </c:extLst>
          </c:dPt>
          <c:dPt>
            <c:idx val="10"/>
            <c:invertIfNegative val="1"/>
            <c:bubble3D val="0"/>
            <c:spPr>
              <a:solidFill>
                <a:srgbClr val="AEABAB"/>
              </a:solidFill>
            </c:spPr>
            <c:extLst>
              <c:ext xmlns:c16="http://schemas.microsoft.com/office/drawing/2014/chart" uri="{C3380CC4-5D6E-409C-BE32-E72D297353CC}">
                <c16:uniqueId val="{00000015-83E0-4716-877A-8084D4846F88}"/>
              </c:ext>
            </c:extLst>
          </c:dPt>
          <c:dPt>
            <c:idx val="11"/>
            <c:invertIfNegative val="1"/>
            <c:bubble3D val="0"/>
            <c:spPr>
              <a:solidFill>
                <a:srgbClr val="AEABAB"/>
              </a:solidFill>
            </c:spPr>
            <c:extLst>
              <c:ext xmlns:c16="http://schemas.microsoft.com/office/drawing/2014/chart" uri="{C3380CC4-5D6E-409C-BE32-E72D297353CC}">
                <c16:uniqueId val="{00000017-83E0-4716-877A-8084D4846F88}"/>
              </c:ext>
            </c:extLst>
          </c:dPt>
          <c:dPt>
            <c:idx val="12"/>
            <c:invertIfNegative val="1"/>
            <c:bubble3D val="0"/>
            <c:spPr>
              <a:solidFill>
                <a:srgbClr val="AEABAB"/>
              </a:solidFill>
            </c:spPr>
            <c:extLst>
              <c:ext xmlns:c16="http://schemas.microsoft.com/office/drawing/2014/chart" uri="{C3380CC4-5D6E-409C-BE32-E72D297353CC}">
                <c16:uniqueId val="{00000019-83E0-4716-877A-8084D4846F88}"/>
              </c:ext>
            </c:extLst>
          </c:dPt>
          <c:dPt>
            <c:idx val="13"/>
            <c:invertIfNegative val="1"/>
            <c:bubble3D val="0"/>
            <c:spPr>
              <a:solidFill>
                <a:srgbClr val="AEABAB"/>
              </a:solidFill>
            </c:spPr>
            <c:extLst>
              <c:ext xmlns:c16="http://schemas.microsoft.com/office/drawing/2014/chart" uri="{C3380CC4-5D6E-409C-BE32-E72D297353CC}">
                <c16:uniqueId val="{0000001B-83E0-4716-877A-8084D4846F88}"/>
              </c:ext>
            </c:extLst>
          </c:dPt>
          <c:dPt>
            <c:idx val="14"/>
            <c:invertIfNegative val="0"/>
            <c:bubble3D val="0"/>
            <c:extLst>
              <c:ext xmlns:c16="http://schemas.microsoft.com/office/drawing/2014/chart" uri="{C3380CC4-5D6E-409C-BE32-E72D297353CC}">
                <c16:uniqueId val="{0000001D-83E0-4716-877A-8084D4846F88}"/>
              </c:ext>
            </c:extLst>
          </c:dPt>
          <c:dPt>
            <c:idx val="15"/>
            <c:invertIfNegative val="1"/>
            <c:bubble3D val="0"/>
            <c:spPr>
              <a:solidFill>
                <a:srgbClr val="AEABAB"/>
              </a:solidFill>
            </c:spPr>
            <c:extLst>
              <c:ext xmlns:c16="http://schemas.microsoft.com/office/drawing/2014/chart" uri="{C3380CC4-5D6E-409C-BE32-E72D297353CC}">
                <c16:uniqueId val="{0000001F-83E0-4716-877A-8084D4846F88}"/>
              </c:ext>
            </c:extLst>
          </c:dPt>
          <c:dPt>
            <c:idx val="16"/>
            <c:invertIfNegative val="1"/>
            <c:bubble3D val="0"/>
            <c:spPr>
              <a:solidFill>
                <a:srgbClr val="AEABAB"/>
              </a:solidFill>
            </c:spPr>
            <c:extLst>
              <c:ext xmlns:c16="http://schemas.microsoft.com/office/drawing/2014/chart" uri="{C3380CC4-5D6E-409C-BE32-E72D297353CC}">
                <c16:uniqueId val="{00000021-83E0-4716-877A-8084D4846F88}"/>
              </c:ext>
            </c:extLst>
          </c:dPt>
          <c:dPt>
            <c:idx val="17"/>
            <c:invertIfNegative val="0"/>
            <c:bubble3D val="0"/>
            <c:extLst>
              <c:ext xmlns:c16="http://schemas.microsoft.com/office/drawing/2014/chart" uri="{C3380CC4-5D6E-409C-BE32-E72D297353CC}">
                <c16:uniqueId val="{00000023-83E0-4716-877A-8084D4846F88}"/>
              </c:ext>
            </c:extLst>
          </c:dPt>
          <c:dPt>
            <c:idx val="18"/>
            <c:invertIfNegative val="1"/>
            <c:bubble3D val="0"/>
            <c:spPr>
              <a:solidFill>
                <a:srgbClr val="AEABAB"/>
              </a:solidFill>
            </c:spPr>
            <c:extLst>
              <c:ext xmlns:c16="http://schemas.microsoft.com/office/drawing/2014/chart" uri="{C3380CC4-5D6E-409C-BE32-E72D297353CC}">
                <c16:uniqueId val="{00000025-83E0-4716-877A-8084D4846F88}"/>
              </c:ext>
            </c:extLst>
          </c:dPt>
          <c:dPt>
            <c:idx val="19"/>
            <c:invertIfNegative val="1"/>
            <c:bubble3D val="0"/>
            <c:spPr>
              <a:solidFill>
                <a:srgbClr val="AEABAB"/>
              </a:solidFill>
            </c:spPr>
            <c:extLst>
              <c:ext xmlns:c16="http://schemas.microsoft.com/office/drawing/2014/chart" uri="{C3380CC4-5D6E-409C-BE32-E72D297353CC}">
                <c16:uniqueId val="{00000027-83E0-4716-877A-8084D4846F88}"/>
              </c:ext>
            </c:extLst>
          </c:dPt>
          <c:dPt>
            <c:idx val="20"/>
            <c:invertIfNegative val="1"/>
            <c:bubble3D val="0"/>
            <c:spPr>
              <a:solidFill>
                <a:srgbClr val="AEABAB"/>
              </a:solidFill>
            </c:spPr>
            <c:extLst>
              <c:ext xmlns:c16="http://schemas.microsoft.com/office/drawing/2014/chart" uri="{C3380CC4-5D6E-409C-BE32-E72D297353CC}">
                <c16:uniqueId val="{00000029-83E0-4716-877A-8084D4846F88}"/>
              </c:ext>
            </c:extLst>
          </c:dPt>
          <c:dPt>
            <c:idx val="21"/>
            <c:invertIfNegative val="1"/>
            <c:bubble3D val="0"/>
            <c:spPr>
              <a:solidFill>
                <a:srgbClr val="AEABAB"/>
              </a:solidFill>
            </c:spPr>
            <c:extLst>
              <c:ext xmlns:c16="http://schemas.microsoft.com/office/drawing/2014/chart" uri="{C3380CC4-5D6E-409C-BE32-E72D297353CC}">
                <c16:uniqueId val="{0000002B-83E0-4716-877A-8084D4846F88}"/>
              </c:ext>
            </c:extLst>
          </c:dPt>
          <c:dPt>
            <c:idx val="22"/>
            <c:invertIfNegative val="1"/>
            <c:bubble3D val="0"/>
            <c:spPr>
              <a:solidFill>
                <a:srgbClr val="AEABAB"/>
              </a:solidFill>
            </c:spPr>
            <c:extLst>
              <c:ext xmlns:c16="http://schemas.microsoft.com/office/drawing/2014/chart" uri="{C3380CC4-5D6E-409C-BE32-E72D297353CC}">
                <c16:uniqueId val="{0000002D-83E0-4716-877A-8084D4846F88}"/>
              </c:ext>
            </c:extLst>
          </c:dPt>
          <c:dPt>
            <c:idx val="23"/>
            <c:invertIfNegative val="1"/>
            <c:bubble3D val="0"/>
            <c:spPr>
              <a:solidFill>
                <a:srgbClr val="AEABAB"/>
              </a:solidFill>
            </c:spPr>
            <c:extLst>
              <c:ext xmlns:c16="http://schemas.microsoft.com/office/drawing/2014/chart" uri="{C3380CC4-5D6E-409C-BE32-E72D297353CC}">
                <c16:uniqueId val="{0000002F-83E0-4716-877A-8084D4846F88}"/>
              </c:ext>
            </c:extLst>
          </c:dPt>
          <c:dPt>
            <c:idx val="24"/>
            <c:invertIfNegative val="1"/>
            <c:bubble3D val="0"/>
            <c:spPr>
              <a:solidFill>
                <a:srgbClr val="AEABAB"/>
              </a:solidFill>
            </c:spPr>
            <c:extLst>
              <c:ext xmlns:c16="http://schemas.microsoft.com/office/drawing/2014/chart" uri="{C3380CC4-5D6E-409C-BE32-E72D297353CC}">
                <c16:uniqueId val="{00000031-83E0-4716-877A-8084D4846F88}"/>
              </c:ext>
            </c:extLst>
          </c:dPt>
          <c:dPt>
            <c:idx val="25"/>
            <c:invertIfNegative val="1"/>
            <c:bubble3D val="0"/>
            <c:spPr>
              <a:solidFill>
                <a:srgbClr val="AEABAB"/>
              </a:solidFill>
            </c:spPr>
            <c:extLst>
              <c:ext xmlns:c16="http://schemas.microsoft.com/office/drawing/2014/chart" uri="{C3380CC4-5D6E-409C-BE32-E72D297353CC}">
                <c16:uniqueId val="{00000033-83E0-4716-877A-8084D4846F88}"/>
              </c:ext>
            </c:extLst>
          </c:dPt>
          <c:dPt>
            <c:idx val="26"/>
            <c:invertIfNegative val="1"/>
            <c:bubble3D val="0"/>
            <c:spPr>
              <a:solidFill>
                <a:srgbClr val="AEABAB"/>
              </a:solidFill>
            </c:spPr>
            <c:extLst>
              <c:ext xmlns:c16="http://schemas.microsoft.com/office/drawing/2014/chart" uri="{C3380CC4-5D6E-409C-BE32-E72D297353CC}">
                <c16:uniqueId val="{00000035-83E0-4716-877A-8084D4846F88}"/>
              </c:ext>
            </c:extLst>
          </c:dPt>
          <c:dPt>
            <c:idx val="27"/>
            <c:invertIfNegative val="1"/>
            <c:bubble3D val="0"/>
            <c:spPr>
              <a:solidFill>
                <a:srgbClr val="AEABAB"/>
              </a:solidFill>
            </c:spPr>
            <c:extLst>
              <c:ext xmlns:c16="http://schemas.microsoft.com/office/drawing/2014/chart" uri="{C3380CC4-5D6E-409C-BE32-E72D297353CC}">
                <c16:uniqueId val="{00000037-83E0-4716-877A-8084D4846F88}"/>
              </c:ext>
            </c:extLst>
          </c:dPt>
          <c:dPt>
            <c:idx val="28"/>
            <c:invertIfNegative val="1"/>
            <c:bubble3D val="0"/>
            <c:spPr>
              <a:solidFill>
                <a:srgbClr val="AEABAB"/>
              </a:solidFill>
            </c:spPr>
            <c:extLst>
              <c:ext xmlns:c16="http://schemas.microsoft.com/office/drawing/2014/chart" uri="{C3380CC4-5D6E-409C-BE32-E72D297353CC}">
                <c16:uniqueId val="{00000039-83E0-4716-877A-8084D4846F88}"/>
              </c:ext>
            </c:extLst>
          </c:dPt>
          <c:dPt>
            <c:idx val="29"/>
            <c:invertIfNegative val="1"/>
            <c:bubble3D val="0"/>
            <c:spPr>
              <a:solidFill>
                <a:srgbClr val="AEABAB"/>
              </a:solidFill>
            </c:spPr>
            <c:extLst>
              <c:ext xmlns:c16="http://schemas.microsoft.com/office/drawing/2014/chart" uri="{C3380CC4-5D6E-409C-BE32-E72D297353CC}">
                <c16:uniqueId val="{0000003B-83E0-4716-877A-8084D4846F88}"/>
              </c:ext>
            </c:extLst>
          </c:dPt>
          <c:dPt>
            <c:idx val="30"/>
            <c:invertIfNegative val="1"/>
            <c:bubble3D val="0"/>
            <c:spPr>
              <a:solidFill>
                <a:srgbClr val="AEABAB"/>
              </a:solidFill>
            </c:spPr>
            <c:extLst>
              <c:ext xmlns:c16="http://schemas.microsoft.com/office/drawing/2014/chart" uri="{C3380CC4-5D6E-409C-BE32-E72D297353CC}">
                <c16:uniqueId val="{0000003D-83E0-4716-877A-8084D4846F88}"/>
              </c:ext>
            </c:extLst>
          </c:dPt>
          <c:dPt>
            <c:idx val="31"/>
            <c:invertIfNegative val="1"/>
            <c:bubble3D val="0"/>
            <c:spPr>
              <a:solidFill>
                <a:srgbClr val="AEABAB"/>
              </a:solidFill>
            </c:spPr>
            <c:extLst>
              <c:ext xmlns:c16="http://schemas.microsoft.com/office/drawing/2014/chart" uri="{C3380CC4-5D6E-409C-BE32-E72D297353CC}">
                <c16:uniqueId val="{0000003F-83E0-4716-877A-8084D4846F88}"/>
              </c:ext>
            </c:extLst>
          </c:dPt>
          <c:dPt>
            <c:idx val="32"/>
            <c:invertIfNegative val="0"/>
            <c:bubble3D val="0"/>
            <c:extLst>
              <c:ext xmlns:c16="http://schemas.microsoft.com/office/drawing/2014/chart" uri="{C3380CC4-5D6E-409C-BE32-E72D297353CC}">
                <c16:uniqueId val="{00000041-83E0-4716-877A-8084D4846F88}"/>
              </c:ext>
            </c:extLst>
          </c:dPt>
          <c:dPt>
            <c:idx val="33"/>
            <c:invertIfNegative val="1"/>
            <c:bubble3D val="0"/>
            <c:spPr>
              <a:solidFill>
                <a:srgbClr val="AEABAB"/>
              </a:solidFill>
            </c:spPr>
            <c:extLst>
              <c:ext xmlns:c16="http://schemas.microsoft.com/office/drawing/2014/chart" uri="{C3380CC4-5D6E-409C-BE32-E72D297353CC}">
                <c16:uniqueId val="{00000043-83E0-4716-877A-8084D4846F88}"/>
              </c:ext>
            </c:extLst>
          </c:dPt>
          <c:dPt>
            <c:idx val="34"/>
            <c:invertIfNegative val="1"/>
            <c:bubble3D val="0"/>
            <c:spPr>
              <a:solidFill>
                <a:srgbClr val="AEABAB"/>
              </a:solidFill>
            </c:spPr>
            <c:extLst>
              <c:ext xmlns:c16="http://schemas.microsoft.com/office/drawing/2014/chart" uri="{C3380CC4-5D6E-409C-BE32-E72D297353CC}">
                <c16:uniqueId val="{00000045-83E0-4716-877A-8084D4846F88}"/>
              </c:ext>
            </c:extLst>
          </c:dPt>
          <c:dPt>
            <c:idx val="35"/>
            <c:invertIfNegative val="1"/>
            <c:bubble3D val="0"/>
            <c:spPr>
              <a:solidFill>
                <a:srgbClr val="AEABAB"/>
              </a:solidFill>
            </c:spPr>
            <c:extLst>
              <c:ext xmlns:c16="http://schemas.microsoft.com/office/drawing/2014/chart" uri="{C3380CC4-5D6E-409C-BE32-E72D297353CC}">
                <c16:uniqueId val="{00000047-83E0-4716-877A-8084D4846F88}"/>
              </c:ext>
            </c:extLst>
          </c:dPt>
          <c:dPt>
            <c:idx val="36"/>
            <c:invertIfNegative val="1"/>
            <c:bubble3D val="0"/>
            <c:spPr>
              <a:solidFill>
                <a:srgbClr val="AEABAB"/>
              </a:solidFill>
            </c:spPr>
            <c:extLst>
              <c:ext xmlns:c16="http://schemas.microsoft.com/office/drawing/2014/chart" uri="{C3380CC4-5D6E-409C-BE32-E72D297353CC}">
                <c16:uniqueId val="{00000049-83E0-4716-877A-8084D4846F88}"/>
              </c:ext>
            </c:extLst>
          </c:dPt>
          <c:dPt>
            <c:idx val="37"/>
            <c:invertIfNegative val="1"/>
            <c:bubble3D val="0"/>
            <c:spPr>
              <a:solidFill>
                <a:srgbClr val="AEABAB"/>
              </a:solidFill>
            </c:spPr>
            <c:extLst>
              <c:ext xmlns:c16="http://schemas.microsoft.com/office/drawing/2014/chart" uri="{C3380CC4-5D6E-409C-BE32-E72D297353CC}">
                <c16:uniqueId val="{0000004B-83E0-4716-877A-8084D4846F88}"/>
              </c:ext>
            </c:extLst>
          </c:dPt>
          <c:dPt>
            <c:idx val="38"/>
            <c:invertIfNegative val="1"/>
            <c:bubble3D val="0"/>
            <c:spPr>
              <a:solidFill>
                <a:srgbClr val="AEABAB"/>
              </a:solidFill>
            </c:spPr>
            <c:extLst>
              <c:ext xmlns:c16="http://schemas.microsoft.com/office/drawing/2014/chart" uri="{C3380CC4-5D6E-409C-BE32-E72D297353CC}">
                <c16:uniqueId val="{0000004D-83E0-4716-877A-8084D4846F88}"/>
              </c:ext>
            </c:extLst>
          </c:dPt>
          <c:dPt>
            <c:idx val="39"/>
            <c:invertIfNegative val="1"/>
            <c:bubble3D val="0"/>
            <c:spPr>
              <a:solidFill>
                <a:srgbClr val="AEABAB"/>
              </a:solidFill>
            </c:spPr>
            <c:extLst>
              <c:ext xmlns:c16="http://schemas.microsoft.com/office/drawing/2014/chart" uri="{C3380CC4-5D6E-409C-BE32-E72D297353CC}">
                <c16:uniqueId val="{0000004F-83E0-4716-877A-8084D4846F88}"/>
              </c:ext>
            </c:extLst>
          </c:dPt>
          <c:dPt>
            <c:idx val="40"/>
            <c:invertIfNegative val="1"/>
            <c:bubble3D val="0"/>
            <c:spPr>
              <a:solidFill>
                <a:srgbClr val="AEABAB"/>
              </a:solidFill>
            </c:spPr>
            <c:extLst>
              <c:ext xmlns:c16="http://schemas.microsoft.com/office/drawing/2014/chart" uri="{C3380CC4-5D6E-409C-BE32-E72D297353CC}">
                <c16:uniqueId val="{00000051-83E0-4716-877A-8084D4846F88}"/>
              </c:ext>
            </c:extLst>
          </c:dPt>
          <c:dPt>
            <c:idx val="41"/>
            <c:invertIfNegative val="1"/>
            <c:bubble3D val="0"/>
            <c:spPr>
              <a:solidFill>
                <a:srgbClr val="AEABAB"/>
              </a:solidFill>
            </c:spPr>
            <c:extLst>
              <c:ext xmlns:c16="http://schemas.microsoft.com/office/drawing/2014/chart" uri="{C3380CC4-5D6E-409C-BE32-E72D297353CC}">
                <c16:uniqueId val="{00000053-83E0-4716-877A-8084D4846F88}"/>
              </c:ext>
            </c:extLst>
          </c:dPt>
          <c:dPt>
            <c:idx val="42"/>
            <c:invertIfNegative val="1"/>
            <c:bubble3D val="0"/>
            <c:spPr>
              <a:solidFill>
                <a:srgbClr val="AEABAB"/>
              </a:solidFill>
            </c:spPr>
            <c:extLst>
              <c:ext xmlns:c16="http://schemas.microsoft.com/office/drawing/2014/chart" uri="{C3380CC4-5D6E-409C-BE32-E72D297353CC}">
                <c16:uniqueId val="{00000055-83E0-4716-877A-8084D4846F88}"/>
              </c:ext>
            </c:extLst>
          </c:dPt>
          <c:dPt>
            <c:idx val="43"/>
            <c:invertIfNegative val="1"/>
            <c:bubble3D val="0"/>
            <c:spPr>
              <a:solidFill>
                <a:srgbClr val="AEABAB"/>
              </a:solidFill>
            </c:spPr>
            <c:extLst>
              <c:ext xmlns:c16="http://schemas.microsoft.com/office/drawing/2014/chart" uri="{C3380CC4-5D6E-409C-BE32-E72D297353CC}">
                <c16:uniqueId val="{00000057-83E0-4716-877A-8084D4846F88}"/>
              </c:ext>
            </c:extLst>
          </c:dPt>
          <c:dPt>
            <c:idx val="44"/>
            <c:invertIfNegative val="0"/>
            <c:bubble3D val="0"/>
            <c:extLst>
              <c:ext xmlns:c16="http://schemas.microsoft.com/office/drawing/2014/chart" uri="{C3380CC4-5D6E-409C-BE32-E72D297353CC}">
                <c16:uniqueId val="{00000059-83E0-4716-877A-8084D4846F88}"/>
              </c:ext>
            </c:extLst>
          </c:dPt>
          <c:dPt>
            <c:idx val="45"/>
            <c:invertIfNegative val="1"/>
            <c:bubble3D val="0"/>
            <c:spPr>
              <a:solidFill>
                <a:srgbClr val="AEABAB"/>
              </a:solidFill>
            </c:spPr>
            <c:extLst>
              <c:ext xmlns:c16="http://schemas.microsoft.com/office/drawing/2014/chart" uri="{C3380CC4-5D6E-409C-BE32-E72D297353CC}">
                <c16:uniqueId val="{0000005B-83E0-4716-877A-8084D4846F88}"/>
              </c:ext>
            </c:extLst>
          </c:dPt>
          <c:dPt>
            <c:idx val="46"/>
            <c:invertIfNegative val="1"/>
            <c:bubble3D val="0"/>
            <c:spPr>
              <a:solidFill>
                <a:srgbClr val="AEABAB"/>
              </a:solidFill>
            </c:spPr>
            <c:extLst>
              <c:ext xmlns:c16="http://schemas.microsoft.com/office/drawing/2014/chart" uri="{C3380CC4-5D6E-409C-BE32-E72D297353CC}">
                <c16:uniqueId val="{0000005D-83E0-4716-877A-8084D4846F88}"/>
              </c:ext>
            </c:extLst>
          </c:dPt>
          <c:dPt>
            <c:idx val="47"/>
            <c:invertIfNegative val="1"/>
            <c:bubble3D val="0"/>
            <c:spPr>
              <a:solidFill>
                <a:srgbClr val="AEABAB"/>
              </a:solidFill>
            </c:spPr>
            <c:extLst>
              <c:ext xmlns:c16="http://schemas.microsoft.com/office/drawing/2014/chart" uri="{C3380CC4-5D6E-409C-BE32-E72D297353CC}">
                <c16:uniqueId val="{0000005F-83E0-4716-877A-8084D4846F88}"/>
              </c:ext>
            </c:extLst>
          </c:dPt>
          <c:dPt>
            <c:idx val="48"/>
            <c:invertIfNegative val="1"/>
            <c:bubble3D val="0"/>
            <c:spPr>
              <a:solidFill>
                <a:srgbClr val="AEABAB"/>
              </a:solidFill>
            </c:spPr>
            <c:extLst>
              <c:ext xmlns:c16="http://schemas.microsoft.com/office/drawing/2014/chart" uri="{C3380CC4-5D6E-409C-BE32-E72D297353CC}">
                <c16:uniqueId val="{00000061-83E0-4716-877A-8084D4846F88}"/>
              </c:ext>
            </c:extLst>
          </c:dPt>
          <c:dPt>
            <c:idx val="49"/>
            <c:invertIfNegative val="0"/>
            <c:bubble3D val="0"/>
            <c:extLst>
              <c:ext xmlns:c16="http://schemas.microsoft.com/office/drawing/2014/chart" uri="{C3380CC4-5D6E-409C-BE32-E72D297353CC}">
                <c16:uniqueId val="{00000063-83E0-4716-877A-8084D4846F88}"/>
              </c:ext>
            </c:extLst>
          </c:dPt>
          <c:dPt>
            <c:idx val="50"/>
            <c:invertIfNegative val="0"/>
            <c:bubble3D val="0"/>
            <c:extLst>
              <c:ext xmlns:c16="http://schemas.microsoft.com/office/drawing/2014/chart" uri="{C3380CC4-5D6E-409C-BE32-E72D297353CC}">
                <c16:uniqueId val="{00000065-83E0-4716-877A-8084D4846F88}"/>
              </c:ext>
            </c:extLst>
          </c:dPt>
          <c:dPt>
            <c:idx val="51"/>
            <c:invertIfNegative val="1"/>
            <c:bubble3D val="0"/>
            <c:spPr>
              <a:solidFill>
                <a:srgbClr val="AEABAB"/>
              </a:solidFill>
            </c:spPr>
            <c:extLst>
              <c:ext xmlns:c16="http://schemas.microsoft.com/office/drawing/2014/chart" uri="{C3380CC4-5D6E-409C-BE32-E72D297353CC}">
                <c16:uniqueId val="{00000067-83E0-4716-877A-8084D4846F88}"/>
              </c:ext>
            </c:extLst>
          </c:dPt>
          <c:dPt>
            <c:idx val="52"/>
            <c:invertIfNegative val="1"/>
            <c:bubble3D val="0"/>
            <c:spPr>
              <a:solidFill>
                <a:srgbClr val="AEABAB"/>
              </a:solidFill>
            </c:spPr>
            <c:extLst>
              <c:ext xmlns:c16="http://schemas.microsoft.com/office/drawing/2014/chart" uri="{C3380CC4-5D6E-409C-BE32-E72D297353CC}">
                <c16:uniqueId val="{00000069-83E0-4716-877A-8084D4846F88}"/>
              </c:ext>
            </c:extLst>
          </c:dPt>
          <c:dPt>
            <c:idx val="53"/>
            <c:invertIfNegative val="1"/>
            <c:bubble3D val="0"/>
            <c:spPr>
              <a:solidFill>
                <a:srgbClr val="AEABAB"/>
              </a:solidFill>
            </c:spPr>
            <c:extLst>
              <c:ext xmlns:c16="http://schemas.microsoft.com/office/drawing/2014/chart" uri="{C3380CC4-5D6E-409C-BE32-E72D297353CC}">
                <c16:uniqueId val="{0000006B-83E0-4716-877A-8084D4846F88}"/>
              </c:ext>
            </c:extLst>
          </c:dPt>
          <c:dPt>
            <c:idx val="54"/>
            <c:invertIfNegative val="1"/>
            <c:bubble3D val="0"/>
            <c:spPr>
              <a:solidFill>
                <a:srgbClr val="AEABAB"/>
              </a:solidFill>
            </c:spPr>
            <c:extLst>
              <c:ext xmlns:c16="http://schemas.microsoft.com/office/drawing/2014/chart" uri="{C3380CC4-5D6E-409C-BE32-E72D297353CC}">
                <c16:uniqueId val="{0000006D-83E0-4716-877A-8084D4846F88}"/>
              </c:ext>
            </c:extLst>
          </c:dPt>
          <c:dPt>
            <c:idx val="55"/>
            <c:invertIfNegative val="1"/>
            <c:bubble3D val="0"/>
            <c:spPr>
              <a:solidFill>
                <a:srgbClr val="AEABAB"/>
              </a:solidFill>
            </c:spPr>
            <c:extLst>
              <c:ext xmlns:c16="http://schemas.microsoft.com/office/drawing/2014/chart" uri="{C3380CC4-5D6E-409C-BE32-E72D297353CC}">
                <c16:uniqueId val="{0000006F-83E0-4716-877A-8084D4846F88}"/>
              </c:ext>
            </c:extLst>
          </c:dPt>
          <c:dPt>
            <c:idx val="56"/>
            <c:invertIfNegative val="1"/>
            <c:bubble3D val="0"/>
            <c:spPr>
              <a:solidFill>
                <a:srgbClr val="AEABAB"/>
              </a:solidFill>
            </c:spPr>
            <c:extLst>
              <c:ext xmlns:c16="http://schemas.microsoft.com/office/drawing/2014/chart" uri="{C3380CC4-5D6E-409C-BE32-E72D297353CC}">
                <c16:uniqueId val="{00000071-83E0-4716-877A-8084D4846F88}"/>
              </c:ext>
            </c:extLst>
          </c:dPt>
          <c:dPt>
            <c:idx val="57"/>
            <c:invertIfNegative val="1"/>
            <c:bubble3D val="0"/>
            <c:spPr>
              <a:solidFill>
                <a:srgbClr val="AEABAB"/>
              </a:solidFill>
            </c:spPr>
            <c:extLst>
              <c:ext xmlns:c16="http://schemas.microsoft.com/office/drawing/2014/chart" uri="{C3380CC4-5D6E-409C-BE32-E72D297353CC}">
                <c16:uniqueId val="{00000073-83E0-4716-877A-8084D4846F88}"/>
              </c:ext>
            </c:extLst>
          </c:dPt>
          <c:dPt>
            <c:idx val="58"/>
            <c:invertIfNegative val="1"/>
            <c:bubble3D val="0"/>
            <c:spPr>
              <a:solidFill>
                <a:srgbClr val="AEABAB"/>
              </a:solidFill>
            </c:spPr>
            <c:extLst>
              <c:ext xmlns:c16="http://schemas.microsoft.com/office/drawing/2014/chart" uri="{C3380CC4-5D6E-409C-BE32-E72D297353CC}">
                <c16:uniqueId val="{00000075-83E0-4716-877A-8084D4846F88}"/>
              </c:ext>
            </c:extLst>
          </c:dPt>
          <c:dPt>
            <c:idx val="59"/>
            <c:invertIfNegative val="1"/>
            <c:bubble3D val="0"/>
            <c:spPr>
              <a:solidFill>
                <a:srgbClr val="AEABAB"/>
              </a:solidFill>
            </c:spPr>
            <c:extLst>
              <c:ext xmlns:c16="http://schemas.microsoft.com/office/drawing/2014/chart" uri="{C3380CC4-5D6E-409C-BE32-E72D297353CC}">
                <c16:uniqueId val="{00000077-83E0-4716-877A-8084D4846F88}"/>
              </c:ext>
            </c:extLst>
          </c:dPt>
          <c:dPt>
            <c:idx val="60"/>
            <c:invertIfNegative val="1"/>
            <c:bubble3D val="0"/>
            <c:spPr>
              <a:solidFill>
                <a:srgbClr val="AEABAB"/>
              </a:solidFill>
            </c:spPr>
            <c:extLst>
              <c:ext xmlns:c16="http://schemas.microsoft.com/office/drawing/2014/chart" uri="{C3380CC4-5D6E-409C-BE32-E72D297353CC}">
                <c16:uniqueId val="{00000079-83E0-4716-877A-8084D4846F88}"/>
              </c:ext>
            </c:extLst>
          </c:dPt>
          <c:dPt>
            <c:idx val="61"/>
            <c:invertIfNegative val="1"/>
            <c:bubble3D val="0"/>
            <c:spPr>
              <a:solidFill>
                <a:srgbClr val="AEABAB"/>
              </a:solidFill>
            </c:spPr>
            <c:extLst>
              <c:ext xmlns:c16="http://schemas.microsoft.com/office/drawing/2014/chart" uri="{C3380CC4-5D6E-409C-BE32-E72D297353CC}">
                <c16:uniqueId val="{0000007B-83E0-4716-877A-8084D4846F88}"/>
              </c:ext>
            </c:extLst>
          </c:dPt>
          <c:dPt>
            <c:idx val="62"/>
            <c:invertIfNegative val="1"/>
            <c:bubble3D val="0"/>
            <c:spPr>
              <a:solidFill>
                <a:srgbClr val="AEABAB"/>
              </a:solidFill>
            </c:spPr>
            <c:extLst>
              <c:ext xmlns:c16="http://schemas.microsoft.com/office/drawing/2014/chart" uri="{C3380CC4-5D6E-409C-BE32-E72D297353CC}">
                <c16:uniqueId val="{0000007D-83E0-4716-877A-8084D4846F88}"/>
              </c:ext>
            </c:extLst>
          </c:dPt>
          <c:dPt>
            <c:idx val="63"/>
            <c:invertIfNegative val="1"/>
            <c:bubble3D val="0"/>
            <c:spPr>
              <a:solidFill>
                <a:srgbClr val="AEABAB"/>
              </a:solidFill>
            </c:spPr>
            <c:extLst>
              <c:ext xmlns:c16="http://schemas.microsoft.com/office/drawing/2014/chart" uri="{C3380CC4-5D6E-409C-BE32-E72D297353CC}">
                <c16:uniqueId val="{0000007F-83E0-4716-877A-8084D4846F88}"/>
              </c:ext>
            </c:extLst>
          </c:dPt>
          <c:dPt>
            <c:idx val="64"/>
            <c:invertIfNegative val="1"/>
            <c:bubble3D val="0"/>
            <c:spPr>
              <a:solidFill>
                <a:srgbClr val="AEABAB"/>
              </a:solidFill>
            </c:spPr>
            <c:extLst>
              <c:ext xmlns:c16="http://schemas.microsoft.com/office/drawing/2014/chart" uri="{C3380CC4-5D6E-409C-BE32-E72D297353CC}">
                <c16:uniqueId val="{00000081-83E0-4716-877A-8084D4846F88}"/>
              </c:ext>
            </c:extLst>
          </c:dPt>
          <c:dPt>
            <c:idx val="65"/>
            <c:invertIfNegative val="1"/>
            <c:bubble3D val="0"/>
            <c:spPr>
              <a:solidFill>
                <a:srgbClr val="AEABAB"/>
              </a:solidFill>
            </c:spPr>
            <c:extLst>
              <c:ext xmlns:c16="http://schemas.microsoft.com/office/drawing/2014/chart" uri="{C3380CC4-5D6E-409C-BE32-E72D297353CC}">
                <c16:uniqueId val="{00000083-83E0-4716-877A-8084D4846F88}"/>
              </c:ext>
            </c:extLst>
          </c:dPt>
          <c:dPt>
            <c:idx val="66"/>
            <c:invertIfNegative val="1"/>
            <c:bubble3D val="0"/>
            <c:spPr>
              <a:solidFill>
                <a:srgbClr val="AEABAB"/>
              </a:solidFill>
            </c:spPr>
            <c:extLst>
              <c:ext xmlns:c16="http://schemas.microsoft.com/office/drawing/2014/chart" uri="{C3380CC4-5D6E-409C-BE32-E72D297353CC}">
                <c16:uniqueId val="{00000085-83E0-4716-877A-8084D4846F88}"/>
              </c:ext>
            </c:extLst>
          </c:dPt>
          <c:dPt>
            <c:idx val="67"/>
            <c:invertIfNegative val="1"/>
            <c:bubble3D val="0"/>
            <c:spPr>
              <a:solidFill>
                <a:srgbClr val="AEABAB"/>
              </a:solidFill>
            </c:spPr>
            <c:extLst>
              <c:ext xmlns:c16="http://schemas.microsoft.com/office/drawing/2014/chart" uri="{C3380CC4-5D6E-409C-BE32-E72D297353CC}">
                <c16:uniqueId val="{00000087-83E0-4716-877A-8084D4846F88}"/>
              </c:ext>
            </c:extLst>
          </c:dPt>
          <c:dPt>
            <c:idx val="68"/>
            <c:invertIfNegative val="1"/>
            <c:bubble3D val="0"/>
            <c:spPr>
              <a:solidFill>
                <a:srgbClr val="AEABAB"/>
              </a:solidFill>
            </c:spPr>
            <c:extLst>
              <c:ext xmlns:c16="http://schemas.microsoft.com/office/drawing/2014/chart" uri="{C3380CC4-5D6E-409C-BE32-E72D297353CC}">
                <c16:uniqueId val="{00000089-83E0-4716-877A-8084D4846F88}"/>
              </c:ext>
            </c:extLst>
          </c:dPt>
          <c:dPt>
            <c:idx val="69"/>
            <c:invertIfNegative val="1"/>
            <c:bubble3D val="0"/>
            <c:spPr>
              <a:solidFill>
                <a:srgbClr val="AEABAB"/>
              </a:solidFill>
            </c:spPr>
            <c:extLst>
              <c:ext xmlns:c16="http://schemas.microsoft.com/office/drawing/2014/chart" uri="{C3380CC4-5D6E-409C-BE32-E72D297353CC}">
                <c16:uniqueId val="{0000008B-83E0-4716-877A-8084D4846F88}"/>
              </c:ext>
            </c:extLst>
          </c:dPt>
          <c:dPt>
            <c:idx val="70"/>
            <c:invertIfNegative val="1"/>
            <c:bubble3D val="0"/>
            <c:spPr>
              <a:solidFill>
                <a:srgbClr val="AEABAB"/>
              </a:solidFill>
            </c:spPr>
            <c:extLst>
              <c:ext xmlns:c16="http://schemas.microsoft.com/office/drawing/2014/chart" uri="{C3380CC4-5D6E-409C-BE32-E72D297353CC}">
                <c16:uniqueId val="{0000008D-83E0-4716-877A-8084D4846F88}"/>
              </c:ext>
            </c:extLst>
          </c:dPt>
          <c:dPt>
            <c:idx val="71"/>
            <c:invertIfNegative val="1"/>
            <c:bubble3D val="0"/>
            <c:spPr>
              <a:solidFill>
                <a:srgbClr val="AEABAB"/>
              </a:solidFill>
            </c:spPr>
            <c:extLst>
              <c:ext xmlns:c16="http://schemas.microsoft.com/office/drawing/2014/chart" uri="{C3380CC4-5D6E-409C-BE32-E72D297353CC}">
                <c16:uniqueId val="{0000008F-83E0-4716-877A-8084D4846F88}"/>
              </c:ext>
            </c:extLst>
          </c:dPt>
          <c:dPt>
            <c:idx val="72"/>
            <c:invertIfNegative val="1"/>
            <c:bubble3D val="0"/>
            <c:spPr>
              <a:solidFill>
                <a:srgbClr val="AEABAB"/>
              </a:solidFill>
            </c:spPr>
            <c:extLst>
              <c:ext xmlns:c16="http://schemas.microsoft.com/office/drawing/2014/chart" uri="{C3380CC4-5D6E-409C-BE32-E72D297353CC}">
                <c16:uniqueId val="{00000091-83E0-4716-877A-8084D4846F88}"/>
              </c:ext>
            </c:extLst>
          </c:dPt>
          <c:dPt>
            <c:idx val="73"/>
            <c:invertIfNegative val="1"/>
            <c:bubble3D val="0"/>
            <c:spPr>
              <a:solidFill>
                <a:srgbClr val="AEABAB"/>
              </a:solidFill>
            </c:spPr>
            <c:extLst>
              <c:ext xmlns:c16="http://schemas.microsoft.com/office/drawing/2014/chart" uri="{C3380CC4-5D6E-409C-BE32-E72D297353CC}">
                <c16:uniqueId val="{00000093-83E0-4716-877A-8084D4846F88}"/>
              </c:ext>
            </c:extLst>
          </c:dPt>
          <c:dPt>
            <c:idx val="74"/>
            <c:invertIfNegative val="1"/>
            <c:bubble3D val="0"/>
            <c:spPr>
              <a:solidFill>
                <a:srgbClr val="AEABAB"/>
              </a:solidFill>
            </c:spPr>
            <c:extLst>
              <c:ext xmlns:c16="http://schemas.microsoft.com/office/drawing/2014/chart" uri="{C3380CC4-5D6E-409C-BE32-E72D297353CC}">
                <c16:uniqueId val="{00000095-83E0-4716-877A-8084D4846F88}"/>
              </c:ext>
            </c:extLst>
          </c:dPt>
          <c:dPt>
            <c:idx val="75"/>
            <c:invertIfNegative val="1"/>
            <c:bubble3D val="0"/>
            <c:spPr>
              <a:solidFill>
                <a:srgbClr val="AEABAB"/>
              </a:solidFill>
            </c:spPr>
            <c:extLst>
              <c:ext xmlns:c16="http://schemas.microsoft.com/office/drawing/2014/chart" uri="{C3380CC4-5D6E-409C-BE32-E72D297353CC}">
                <c16:uniqueId val="{00000097-83E0-4716-877A-8084D4846F88}"/>
              </c:ext>
            </c:extLst>
          </c:dPt>
          <c:dPt>
            <c:idx val="76"/>
            <c:invertIfNegative val="1"/>
            <c:bubble3D val="0"/>
            <c:spPr>
              <a:solidFill>
                <a:srgbClr val="AEABAB"/>
              </a:solidFill>
            </c:spPr>
            <c:extLst>
              <c:ext xmlns:c16="http://schemas.microsoft.com/office/drawing/2014/chart" uri="{C3380CC4-5D6E-409C-BE32-E72D297353CC}">
                <c16:uniqueId val="{00000099-83E0-4716-877A-8084D4846F88}"/>
              </c:ext>
            </c:extLst>
          </c:dPt>
          <c:dPt>
            <c:idx val="77"/>
            <c:invertIfNegative val="1"/>
            <c:bubble3D val="0"/>
            <c:spPr>
              <a:solidFill>
                <a:srgbClr val="AEABAB"/>
              </a:solidFill>
            </c:spPr>
            <c:extLst>
              <c:ext xmlns:c16="http://schemas.microsoft.com/office/drawing/2014/chart" uri="{C3380CC4-5D6E-409C-BE32-E72D297353CC}">
                <c16:uniqueId val="{0000009B-83E0-4716-877A-8084D4846F88}"/>
              </c:ext>
            </c:extLst>
          </c:dPt>
          <c:dPt>
            <c:idx val="78"/>
            <c:invertIfNegative val="1"/>
            <c:bubble3D val="0"/>
            <c:spPr>
              <a:solidFill>
                <a:srgbClr val="AEABAB"/>
              </a:solidFill>
            </c:spPr>
            <c:extLst>
              <c:ext xmlns:c16="http://schemas.microsoft.com/office/drawing/2014/chart" uri="{C3380CC4-5D6E-409C-BE32-E72D297353CC}">
                <c16:uniqueId val="{0000009D-83E0-4716-877A-8084D4846F88}"/>
              </c:ext>
            </c:extLst>
          </c:dPt>
          <c:dPt>
            <c:idx val="79"/>
            <c:invertIfNegative val="1"/>
            <c:bubble3D val="0"/>
            <c:spPr>
              <a:solidFill>
                <a:srgbClr val="AEABAB"/>
              </a:solidFill>
            </c:spPr>
            <c:extLst>
              <c:ext xmlns:c16="http://schemas.microsoft.com/office/drawing/2014/chart" uri="{C3380CC4-5D6E-409C-BE32-E72D297353CC}">
                <c16:uniqueId val="{0000009F-83E0-4716-877A-8084D4846F88}"/>
              </c:ext>
            </c:extLst>
          </c:dPt>
          <c:dPt>
            <c:idx val="80"/>
            <c:invertIfNegative val="1"/>
            <c:bubble3D val="0"/>
            <c:spPr>
              <a:solidFill>
                <a:srgbClr val="AEABAB"/>
              </a:solidFill>
            </c:spPr>
            <c:extLst>
              <c:ext xmlns:c16="http://schemas.microsoft.com/office/drawing/2014/chart" uri="{C3380CC4-5D6E-409C-BE32-E72D297353CC}">
                <c16:uniqueId val="{000000A1-83E0-4716-877A-8084D4846F88}"/>
              </c:ext>
            </c:extLst>
          </c:dPt>
          <c:dPt>
            <c:idx val="81"/>
            <c:invertIfNegative val="1"/>
            <c:bubble3D val="0"/>
            <c:spPr>
              <a:solidFill>
                <a:srgbClr val="AEABAB"/>
              </a:solidFill>
            </c:spPr>
            <c:extLst>
              <c:ext xmlns:c16="http://schemas.microsoft.com/office/drawing/2014/chart" uri="{C3380CC4-5D6E-409C-BE32-E72D297353CC}">
                <c16:uniqueId val="{000000A3-83E0-4716-877A-8084D4846F88}"/>
              </c:ext>
            </c:extLst>
          </c:dPt>
          <c:dPt>
            <c:idx val="82"/>
            <c:invertIfNegative val="1"/>
            <c:bubble3D val="0"/>
            <c:spPr>
              <a:solidFill>
                <a:srgbClr val="AEABAB"/>
              </a:solidFill>
            </c:spPr>
            <c:extLst>
              <c:ext xmlns:c16="http://schemas.microsoft.com/office/drawing/2014/chart" uri="{C3380CC4-5D6E-409C-BE32-E72D297353CC}">
                <c16:uniqueId val="{000000A5-83E0-4716-877A-8084D4846F88}"/>
              </c:ext>
            </c:extLst>
          </c:dPt>
          <c:dPt>
            <c:idx val="83"/>
            <c:invertIfNegative val="1"/>
            <c:bubble3D val="0"/>
            <c:spPr>
              <a:solidFill>
                <a:srgbClr val="AEABAB"/>
              </a:solidFill>
            </c:spPr>
            <c:extLst>
              <c:ext xmlns:c16="http://schemas.microsoft.com/office/drawing/2014/chart" uri="{C3380CC4-5D6E-409C-BE32-E72D297353CC}">
                <c16:uniqueId val="{000000A7-83E0-4716-877A-8084D4846F88}"/>
              </c:ext>
            </c:extLst>
          </c:dPt>
          <c:dPt>
            <c:idx val="84"/>
            <c:invertIfNegative val="1"/>
            <c:bubble3D val="0"/>
            <c:spPr>
              <a:solidFill>
                <a:srgbClr val="AEABAB"/>
              </a:solidFill>
            </c:spPr>
            <c:extLst>
              <c:ext xmlns:c16="http://schemas.microsoft.com/office/drawing/2014/chart" uri="{C3380CC4-5D6E-409C-BE32-E72D297353CC}">
                <c16:uniqueId val="{000000A9-83E0-4716-877A-8084D4846F88}"/>
              </c:ext>
            </c:extLst>
          </c:dPt>
          <c:dPt>
            <c:idx val="85"/>
            <c:invertIfNegative val="1"/>
            <c:bubble3D val="0"/>
            <c:spPr>
              <a:solidFill>
                <a:srgbClr val="AEABAB"/>
              </a:solidFill>
            </c:spPr>
            <c:extLst>
              <c:ext xmlns:c16="http://schemas.microsoft.com/office/drawing/2014/chart" uri="{C3380CC4-5D6E-409C-BE32-E72D297353CC}">
                <c16:uniqueId val="{000000AB-83E0-4716-877A-8084D4846F88}"/>
              </c:ext>
            </c:extLst>
          </c:dPt>
          <c:dPt>
            <c:idx val="86"/>
            <c:invertIfNegative val="1"/>
            <c:bubble3D val="0"/>
            <c:spPr>
              <a:solidFill>
                <a:srgbClr val="AEABAB"/>
              </a:solidFill>
            </c:spPr>
            <c:extLst>
              <c:ext xmlns:c16="http://schemas.microsoft.com/office/drawing/2014/chart" uri="{C3380CC4-5D6E-409C-BE32-E72D297353CC}">
                <c16:uniqueId val="{000000AD-83E0-4716-877A-8084D4846F88}"/>
              </c:ext>
            </c:extLst>
          </c:dPt>
          <c:dPt>
            <c:idx val="87"/>
            <c:invertIfNegative val="1"/>
            <c:bubble3D val="0"/>
            <c:spPr>
              <a:solidFill>
                <a:srgbClr val="AEABAB"/>
              </a:solidFill>
            </c:spPr>
            <c:extLst>
              <c:ext xmlns:c16="http://schemas.microsoft.com/office/drawing/2014/chart" uri="{C3380CC4-5D6E-409C-BE32-E72D297353CC}">
                <c16:uniqueId val="{000000AF-83E0-4716-877A-8084D4846F88}"/>
              </c:ext>
            </c:extLst>
          </c:dPt>
          <c:dPt>
            <c:idx val="88"/>
            <c:invertIfNegative val="1"/>
            <c:bubble3D val="0"/>
            <c:spPr>
              <a:solidFill>
                <a:srgbClr val="AEABAB"/>
              </a:solidFill>
            </c:spPr>
            <c:extLst>
              <c:ext xmlns:c16="http://schemas.microsoft.com/office/drawing/2014/chart" uri="{C3380CC4-5D6E-409C-BE32-E72D297353CC}">
                <c16:uniqueId val="{000000B1-83E0-4716-877A-8084D4846F88}"/>
              </c:ext>
            </c:extLst>
          </c:dPt>
          <c:dPt>
            <c:idx val="89"/>
            <c:invertIfNegative val="1"/>
            <c:bubble3D val="0"/>
            <c:spPr>
              <a:solidFill>
                <a:srgbClr val="AEABAB"/>
              </a:solidFill>
            </c:spPr>
            <c:extLst>
              <c:ext xmlns:c16="http://schemas.microsoft.com/office/drawing/2014/chart" uri="{C3380CC4-5D6E-409C-BE32-E72D297353CC}">
                <c16:uniqueId val="{000000B3-83E0-4716-877A-8084D4846F88}"/>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3E0-4716-877A-8084D4846F88}"/>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3E0-4716-877A-8084D4846F88}"/>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3E0-4716-877A-8084D4846F88}"/>
                </c:ext>
              </c:extLst>
            </c:dLbl>
            <c:dLbl>
              <c:idx val="3"/>
              <c:tx>
                <c:rich>
                  <a:bodyPr/>
                  <a:lstStyle/>
                  <a:p>
                    <a:r>
                      <a:rPr lang="en-US" sz="500">
                        <a:solidFill>
                          <a:srgbClr val="006C6D"/>
                        </a:solidFill>
                      </a:rPr>
                      <a:t>Schick Xtreme 5 Disposable Razors 9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3E0-4716-877A-8084D4846F88}"/>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3E0-4716-877A-8084D4846F88}"/>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3E0-4716-877A-8084D4846F88}"/>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3E0-4716-877A-8084D4846F88}"/>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83E0-4716-877A-8084D4846F88}"/>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83E0-4716-877A-8084D4846F88}"/>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83E0-4716-877A-8084D4846F88}"/>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83E0-4716-877A-8084D4846F88}"/>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83E0-4716-877A-8084D4846F88}"/>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83E0-4716-877A-8084D4846F88}"/>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83E0-4716-877A-8084D4846F88}"/>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3E0-4716-877A-8084D4846F88}"/>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3E0-4716-877A-8084D4846F88}"/>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3E0-4716-877A-8084D4846F88}"/>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3E0-4716-877A-8084D4846F88}"/>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3E0-4716-877A-8084D4846F88}"/>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3E0-4716-877A-8084D4846F88}"/>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3E0-4716-877A-8084D4846F88}"/>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83E0-4716-877A-8084D4846F88}"/>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83E0-4716-877A-8084D4846F88}"/>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83E0-4716-877A-8084D4846F88}"/>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83E0-4716-877A-8084D4846F88}"/>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83E0-4716-877A-8084D4846F88}"/>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83E0-4716-877A-8084D4846F88}"/>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83E0-4716-877A-8084D4846F88}"/>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83E0-4716-877A-8084D4846F88}"/>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83E0-4716-877A-8084D4846F88}"/>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83E0-4716-877A-8084D4846F88}"/>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83E0-4716-877A-8084D4846F88}"/>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83E0-4716-877A-8084D4846F88}"/>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83E0-4716-877A-8084D4846F88}"/>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83E0-4716-877A-8084D4846F88}"/>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83E0-4716-877A-8084D4846F88}"/>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83E0-4716-877A-8084D4846F88}"/>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83E0-4716-877A-8084D4846F88}"/>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83E0-4716-877A-8084D4846F88}"/>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83E0-4716-877A-8084D4846F88}"/>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83E0-4716-877A-8084D4846F88}"/>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83E0-4716-877A-8084D4846F88}"/>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83E0-4716-877A-8084D4846F88}"/>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83E0-4716-877A-8084D4846F88}"/>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83E0-4716-877A-8084D4846F88}"/>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83E0-4716-877A-8084D4846F88}"/>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83E0-4716-877A-8084D4846F88}"/>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83E0-4716-877A-8084D4846F88}"/>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83E0-4716-877A-8084D4846F88}"/>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83E0-4716-877A-8084D4846F88}"/>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83E0-4716-877A-8084D4846F88}"/>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83E0-4716-877A-8084D4846F88}"/>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83E0-4716-877A-8084D4846F88}"/>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83E0-4716-877A-8084D4846F88}"/>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83E0-4716-877A-8084D4846F88}"/>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83E0-4716-877A-8084D4846F88}"/>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83E0-4716-877A-8084D4846F88}"/>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83E0-4716-877A-8084D4846F88}"/>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83E0-4716-877A-8084D4846F88}"/>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83E0-4716-877A-8084D4846F88}"/>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83E0-4716-877A-8084D4846F88}"/>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83E0-4716-877A-8084D4846F88}"/>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83E0-4716-877A-8084D4846F88}"/>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83E0-4716-877A-8084D4846F88}"/>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83E0-4716-877A-8084D4846F88}"/>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83E0-4716-877A-8084D4846F88}"/>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83E0-4716-877A-8084D4846F88}"/>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83E0-4716-877A-8084D4846F88}"/>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83E0-4716-877A-8084D4846F88}"/>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83E0-4716-877A-8084D4846F88}"/>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83E0-4716-877A-8084D4846F88}"/>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83E0-4716-877A-8084D4846F88}"/>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83E0-4716-877A-8084D4846F88}"/>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83E0-4716-877A-8084D4846F88}"/>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83E0-4716-877A-8084D4846F88}"/>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83E0-4716-877A-8084D4846F88}"/>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83E0-4716-877A-8084D4846F88}"/>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83E0-4716-877A-8084D4846F88}"/>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83E0-4716-877A-8084D4846F88}"/>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83E0-4716-877A-8084D4846F88}"/>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83E0-4716-877A-8084D4846F88}"/>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83E0-4716-877A-8084D4846F88}"/>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83E0-4716-877A-8084D4846F88}"/>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83E0-4716-877A-8084D4846F88}"/>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83E0-4716-877A-8084D4846F88}"/>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83E0-4716-877A-8084D4846F88}"/>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83E0-4716-877A-8084D4846F88}"/>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83E0-4716-877A-8084D4846F88}"/>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83E0-4716-877A-8084D4846F88}"/>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Mach 3 Advanced Refills 20 Pack</c:v>
                </c:pt>
                <c:pt idx="2">
                  <c:v>Gillette Custom Plus 3 Sensitive Disposable Razors 30 Pack</c:v>
                </c:pt>
                <c:pt idx="3">
                  <c:v>Schick Xtreme 5 Disposable Razors 9 Pack</c:v>
                </c:pt>
                <c:pt idx="4">
                  <c:v>None Razors</c:v>
                </c:pt>
                <c:pt idx="5">
                  <c:v>Harry's Razor Set Chrome Edition 1 Handle + 13 Cartridges</c:v>
                </c:pt>
              </c:strCache>
            </c:strRef>
          </c:cat>
          <c:val>
            <c:numRef>
              <c:f>Sheet1!$B$2:$B$7</c:f>
              <c:numCache>
                <c:formatCode>General</c:formatCode>
                <c:ptCount val="6"/>
                <c:pt idx="0">
                  <c:v>0.61504476116890561</c:v>
                </c:pt>
                <c:pt idx="1">
                  <c:v>0.38495523883109445</c:v>
                </c:pt>
                <c:pt idx="2">
                  <c:v>0.35233651414462863</c:v>
                </c:pt>
                <c:pt idx="3">
                  <c:v>0.28586268226720712</c:v>
                </c:pt>
                <c:pt idx="4">
                  <c:v>0.22954082685346314</c:v>
                </c:pt>
                <c:pt idx="5">
                  <c:v>0.13225997673470102</c:v>
                </c:pt>
              </c:numCache>
            </c:numRef>
          </c:val>
          <c:extLst>
            <c:ext xmlns:c16="http://schemas.microsoft.com/office/drawing/2014/chart" uri="{C3380CC4-5D6E-409C-BE32-E72D297353CC}">
              <c16:uniqueId val="{000000B4-83E0-4716-877A-8084D4846F88}"/>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Schick Dispo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chick Xtreme 3 Sensitive Disposable Razors 20 Pack @20.99</c:v>
                </c:pt>
                <c:pt idx="1">
                  <c:v>Schick Xtreme 3 Sensitive Disposable Razors 30 Pack @29.99</c:v>
                </c:pt>
                <c:pt idx="2">
                  <c:v>Schick Xtreme 2 Sensitive Disposable Razors 48 Pack @23.99</c:v>
                </c:pt>
                <c:pt idx="3">
                  <c:v>Schick Xtreme 2 Sensitive Disposable Razors 60 Pack @29.99</c:v>
                </c:pt>
                <c:pt idx="4">
                  <c:v>Schick Xtreme 5 Disposable Razors 9 Pack @19.99</c:v>
                </c:pt>
              </c:strCache>
            </c:strRef>
          </c:cat>
          <c:val>
            <c:numRef>
              <c:f>Sheet1!$B$2:$B$6</c:f>
              <c:numCache>
                <c:formatCode>General</c:formatCode>
                <c:ptCount val="5"/>
                <c:pt idx="0">
                  <c:v>100</c:v>
                </c:pt>
                <c:pt idx="1">
                  <c:v>100</c:v>
                </c:pt>
                <c:pt idx="2">
                  <c:v>100</c:v>
                </c:pt>
                <c:pt idx="3">
                  <c:v>100</c:v>
                </c:pt>
                <c:pt idx="4">
                  <c:v>100</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Schick Dispo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chick Xtreme 3 Sensitive Disposable Razors 20 Pack @20.99</c:v>
                </c:pt>
                <c:pt idx="1">
                  <c:v>Schick Xtreme 3 Sensitive Disposable Razors 30 Pack @29.99</c:v>
                </c:pt>
                <c:pt idx="2">
                  <c:v>Schick Xtreme 2 Sensitive Disposable Razors 48 Pack @23.99</c:v>
                </c:pt>
                <c:pt idx="3">
                  <c:v>Schick Xtreme 2 Sensitive Disposable Razors 60 Pack @29.99</c:v>
                </c:pt>
                <c:pt idx="4">
                  <c:v>Schick Xtreme 5 Disposable Razors 9 Pack @19.99</c:v>
                </c:pt>
              </c:strCache>
            </c:strRef>
          </c:cat>
          <c:val>
            <c:numRef>
              <c:f>Sheet1!$C$2:$C$6</c:f>
              <c:numCache>
                <c:formatCode>General</c:formatCode>
                <c:ptCount val="5"/>
                <c:pt idx="0">
                  <c:v>100</c:v>
                </c:pt>
                <c:pt idx="1">
                  <c:v>100</c:v>
                </c:pt>
                <c:pt idx="2">
                  <c:v>100</c:v>
                </c:pt>
                <c:pt idx="3">
                  <c:v>100</c:v>
                </c:pt>
                <c:pt idx="4">
                  <c:v>100</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Schick Dispo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chick Xtreme 3 Sensitive Disposable Razors 20 Pack @20.99</c:v>
                </c:pt>
                <c:pt idx="1">
                  <c:v>Schick Xtreme 3 Sensitive Disposable Razors 30 Pack @29.99</c:v>
                </c:pt>
                <c:pt idx="2">
                  <c:v>Schick Xtreme 2 Sensitive Disposable Razors 48 Pack @23.99</c:v>
                </c:pt>
                <c:pt idx="3">
                  <c:v>Schick Xtreme 2 Sensitive Disposable Razors 60 Pack @29.99</c:v>
                </c:pt>
                <c:pt idx="4">
                  <c:v>Schick Xtreme 5 Disposable Razors 9 Pack @19.99</c:v>
                </c:pt>
              </c:strCache>
            </c:strRef>
          </c:cat>
          <c:val>
            <c:numRef>
              <c:f>Sheet1!$D$2:$D$6</c:f>
              <c:numCache>
                <c:formatCode>General</c:formatCode>
                <c:ptCount val="5"/>
                <c:pt idx="0">
                  <c:v>100</c:v>
                </c:pt>
                <c:pt idx="1">
                  <c:v>100</c:v>
                </c:pt>
                <c:pt idx="2">
                  <c:v>100</c:v>
                </c:pt>
                <c:pt idx="3">
                  <c:v>100</c:v>
                </c:pt>
                <c:pt idx="4">
                  <c:v>100</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Kirkland Disposable Razors 30 pack </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006C6D"/>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r>
                      <a:rPr lang="fr-FR" sz="500">
                        <a:solidFill>
                          <a:srgbClr val="006C6D"/>
                        </a:solidFill>
                      </a:rPr>
                      <a:t>Kirkland Disposable Razors 30 pack </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Mach 3 Advanced Refills 20 Pack</c:v>
                </c:pt>
                <c:pt idx="2">
                  <c:v>Gillette Custom Plus 3 Sensitive Disposable Razors 30 Pack</c:v>
                </c:pt>
                <c:pt idx="3">
                  <c:v>Kirkland Disposable Razors 30 pack </c:v>
                </c:pt>
                <c:pt idx="4">
                  <c:v>None Razors</c:v>
                </c:pt>
                <c:pt idx="5">
                  <c:v>Harry's Razor Set Chrome Edition 1 Handle + 13 Cartridges</c:v>
                </c:pt>
              </c:strCache>
            </c:strRef>
          </c:cat>
          <c:val>
            <c:numRef>
              <c:f>Sheet1!$B$2:$B$7</c:f>
              <c:numCache>
                <c:formatCode>General</c:formatCode>
                <c:ptCount val="6"/>
                <c:pt idx="0">
                  <c:v>0.61671184780490129</c:v>
                </c:pt>
                <c:pt idx="1">
                  <c:v>0.38328815219509882</c:v>
                </c:pt>
                <c:pt idx="2">
                  <c:v>0.33909382409135191</c:v>
                </c:pt>
                <c:pt idx="3">
                  <c:v>0.27541694407036321</c:v>
                </c:pt>
                <c:pt idx="4">
                  <c:v>0.24906759443542584</c:v>
                </c:pt>
                <c:pt idx="5">
                  <c:v>0.13642163740285926</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0.99725383032353521"/>
        </c:manualLayout>
      </c:layout>
      <c:barChart>
        <c:barDir val="bar"/>
        <c:grouping val="clustered"/>
        <c:varyColors val="0"/>
        <c:ser>
          <c:idx val="2"/>
          <c:order val="0"/>
          <c:tx>
            <c:strRef>
              <c:f>Sheet1!$B$1</c:f>
              <c:strCache>
                <c:ptCount val="1"/>
                <c:pt idx="0">
                  <c:v>Schick Xtreme 3 Sensitive Disposable Razors 20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None Razors</c:v>
                </c:pt>
                <c:pt idx="2">
                  <c:v>Harry's Razor Set Chrome Edition 1 Handle + 13 Cartridges</c:v>
                </c:pt>
                <c:pt idx="3">
                  <c:v>Gillette Proglide Plus Refills 16 Pack</c:v>
                </c:pt>
                <c:pt idx="4">
                  <c:v>Schick Hydro 3 Ultra Sensitive 1 Handle + 20 Cartridges</c:v>
                </c:pt>
                <c:pt idx="5">
                  <c:v>Kirkland Disposable Razors 20 pack </c:v>
                </c:pt>
                <c:pt idx="6">
                  <c:v>Kirkland Disposable Razors 30 pack </c:v>
                </c:pt>
                <c:pt idx="7">
                  <c:v>Schick Hydro 5 Sensitive 1 Handle + 16 Cartridges</c:v>
                </c:pt>
                <c:pt idx="8">
                  <c:v>Schick Quattro Titanium 4 Blade Systems 1 Handle + 13 Cartridges</c:v>
                </c:pt>
                <c:pt idx="9">
                  <c:v>Schick Hydro 5 Sensitive 1 Handle + 20 Cartridges</c:v>
                </c:pt>
                <c:pt idx="10">
                  <c:v>Kirkland 5 blades 1 Handle + 13 Cartridges</c:v>
                </c:pt>
              </c:strCache>
            </c:strRef>
          </c:cat>
          <c:val>
            <c:numRef>
              <c:f>Sheet1!$B$2:$B$12</c:f>
              <c:numCache>
                <c:formatCode>General</c:formatCode>
                <c:ptCount val="11"/>
                <c:pt idx="0">
                  <c:v>0.58165188135106372</c:v>
                </c:pt>
                <c:pt idx="1">
                  <c:v>0.26630456147401965</c:v>
                </c:pt>
                <c:pt idx="2">
                  <c:v>0.15204355717491527</c:v>
                </c:pt>
                <c:pt idx="3">
                  <c:v>9.1564830364983356E-3</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Schick Xtreme 3 Sensitive Disposable Razors 30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None Razors</c:v>
                </c:pt>
                <c:pt idx="2">
                  <c:v>Harry's Razor Set Chrome Edition 1 Handle + 13 Cartridges</c:v>
                </c:pt>
                <c:pt idx="3">
                  <c:v>Gillette Proglide Plus Refills 16 Pack</c:v>
                </c:pt>
                <c:pt idx="4">
                  <c:v>Schick Hydro 3 Ultra Sensitive 1 Handle + 20 Cartridges</c:v>
                </c:pt>
                <c:pt idx="5">
                  <c:v>Kirkland Disposable Razors 20 pack </c:v>
                </c:pt>
                <c:pt idx="6">
                  <c:v>Kirkland Disposable Razors 30 pack </c:v>
                </c:pt>
                <c:pt idx="7">
                  <c:v>Schick Hydro 5 Sensitive 1 Handle + 16 Cartridges</c:v>
                </c:pt>
                <c:pt idx="8">
                  <c:v>Schick Quattro Titanium 4 Blade Systems 1 Handle + 13 Cartridges</c:v>
                </c:pt>
                <c:pt idx="9">
                  <c:v>Schick Hydro 5 Sensitive 1 Handle + 20 Cartridges</c:v>
                </c:pt>
                <c:pt idx="10">
                  <c:v>Kirkland 5 blades 1 Handle + 13 Cartridges</c:v>
                </c:pt>
              </c:strCache>
            </c:strRef>
          </c:cat>
          <c:val>
            <c:numRef>
              <c:f>Sheet1!$B$2:$B$12</c:f>
              <c:numCache>
                <c:formatCode>General</c:formatCode>
                <c:ptCount val="11"/>
                <c:pt idx="0">
                  <c:v>0.68630049854911157</c:v>
                </c:pt>
                <c:pt idx="1">
                  <c:v>0.18595013891367332</c:v>
                </c:pt>
                <c:pt idx="2">
                  <c:v>0.12774936253721367</c:v>
                </c:pt>
                <c:pt idx="3">
                  <c:v>5.9579132320984069E-3</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Schick Xtreme 2 Sensitive Disposable Razors 48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None Razors</c:v>
                </c:pt>
                <c:pt idx="2">
                  <c:v>Harry's Razor Set Chrome Edition 1 Handle + 13 Cartridges</c:v>
                </c:pt>
                <c:pt idx="3">
                  <c:v>Gillette Proglide Plus Refills 16 Pack</c:v>
                </c:pt>
                <c:pt idx="4">
                  <c:v>Schick Hydro 3 Ultra Sensitive 1 Handle + 20 Cartridges</c:v>
                </c:pt>
                <c:pt idx="5">
                  <c:v>Kirkland Disposable Razors 20 pack </c:v>
                </c:pt>
                <c:pt idx="6">
                  <c:v>Kirkland Disposable Razors 30 pack </c:v>
                </c:pt>
                <c:pt idx="7">
                  <c:v>Schick Hydro 5 Sensitive 1 Handle + 16 Cartridges</c:v>
                </c:pt>
                <c:pt idx="8">
                  <c:v>Schick Quattro Titanium 4 Blade Systems 1 Handle + 13 Cartridges</c:v>
                </c:pt>
                <c:pt idx="9">
                  <c:v>Schick Hydro 5 Sensitive 1 Handle + 20 Cartridges</c:v>
                </c:pt>
                <c:pt idx="10">
                  <c:v>Kirkland 5 blades 1 Handle + 13 Cartridges</c:v>
                </c:pt>
              </c:strCache>
            </c:strRef>
          </c:cat>
          <c:val>
            <c:numRef>
              <c:f>Sheet1!$B$2:$B$12</c:f>
              <c:numCache>
                <c:formatCode>General</c:formatCode>
                <c:ptCount val="11"/>
                <c:pt idx="0">
                  <c:v>0.62521754094637383</c:v>
                </c:pt>
                <c:pt idx="1">
                  <c:v>0.2101905238281481</c:v>
                </c:pt>
                <c:pt idx="2">
                  <c:v>0.16459193522547796</c:v>
                </c:pt>
                <c:pt idx="3">
                  <c:v>5.0354414198318835E-3</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Schick Xtreme 2 Sensitive Disposable Razors 60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None Razors</c:v>
                </c:pt>
                <c:pt idx="2">
                  <c:v>Harry's Razor Set Chrome Edition 1 Handle + 13 Cartridges</c:v>
                </c:pt>
                <c:pt idx="3">
                  <c:v>Gillette Proglide Plus Refills 16 Pack</c:v>
                </c:pt>
                <c:pt idx="4">
                  <c:v>Schick Hydro 3 Ultra Sensitive 1 Handle + 20 Cartridges</c:v>
                </c:pt>
                <c:pt idx="5">
                  <c:v>Kirkland Disposable Razors 20 pack </c:v>
                </c:pt>
                <c:pt idx="6">
                  <c:v>Kirkland Disposable Razors 30 pack </c:v>
                </c:pt>
                <c:pt idx="7">
                  <c:v>Schick Hydro 5 Sensitive 1 Handle + 16 Cartridges</c:v>
                </c:pt>
                <c:pt idx="8">
                  <c:v>Schick Quattro Titanium 4 Blade Systems 1 Handle + 13 Cartridges</c:v>
                </c:pt>
                <c:pt idx="9">
                  <c:v>Schick Hydro 5 Sensitive 1 Handle + 20 Cartridges</c:v>
                </c:pt>
                <c:pt idx="10">
                  <c:v>Kirkland 5 blades 1 Handle + 13 Cartridges</c:v>
                </c:pt>
              </c:strCache>
            </c:strRef>
          </c:cat>
          <c:val>
            <c:numRef>
              <c:f>Sheet1!$B$2:$B$12</c:f>
              <c:numCache>
                <c:formatCode>General</c:formatCode>
                <c:ptCount val="11"/>
                <c:pt idx="0">
                  <c:v>0.68658808177363984</c:v>
                </c:pt>
                <c:pt idx="1">
                  <c:v>0.16744429994072244</c:v>
                </c:pt>
                <c:pt idx="2">
                  <c:v>0.14596761828563792</c:v>
                </c:pt>
                <c:pt idx="3">
                  <c:v>5.89853560211436E-3</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559397831728E-2"/>
          <c:y val="0"/>
          <c:w val="0.96518562554386689"/>
          <c:h val="1"/>
        </c:manualLayout>
      </c:layout>
      <c:barChart>
        <c:barDir val="bar"/>
        <c:grouping val="clustered"/>
        <c:varyColors val="0"/>
        <c:ser>
          <c:idx val="2"/>
          <c:order val="0"/>
          <c:tx>
            <c:strRef>
              <c:f>Sheet1!$B$1</c:f>
              <c:strCache>
                <c:ptCount val="1"/>
                <c:pt idx="0">
                  <c:v>Schick Xtreme 5 Disposable Razors 9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000A-4C45-A43A-3AA69B6FEE6F}"/>
              </c:ext>
            </c:extLst>
          </c:dPt>
          <c:dPt>
            <c:idx val="1"/>
            <c:invertIfNegative val="1"/>
            <c:bubble3D val="0"/>
            <c:spPr>
              <a:solidFill>
                <a:srgbClr val="AEABAB"/>
              </a:solidFill>
            </c:spPr>
            <c:extLst>
              <c:ext xmlns:c16="http://schemas.microsoft.com/office/drawing/2014/chart" uri="{C3380CC4-5D6E-409C-BE32-E72D297353CC}">
                <c16:uniqueId val="{00000003-000A-4C45-A43A-3AA69B6FEE6F}"/>
              </c:ext>
            </c:extLst>
          </c:dPt>
          <c:dPt>
            <c:idx val="2"/>
            <c:invertIfNegative val="1"/>
            <c:bubble3D val="0"/>
            <c:spPr>
              <a:solidFill>
                <a:srgbClr val="AEABAB"/>
              </a:solidFill>
            </c:spPr>
            <c:extLst>
              <c:ext xmlns:c16="http://schemas.microsoft.com/office/drawing/2014/chart" uri="{C3380CC4-5D6E-409C-BE32-E72D297353CC}">
                <c16:uniqueId val="{00000005-000A-4C45-A43A-3AA69B6FEE6F}"/>
              </c:ext>
            </c:extLst>
          </c:dPt>
          <c:dPt>
            <c:idx val="3"/>
            <c:invertIfNegative val="1"/>
            <c:bubble3D val="0"/>
            <c:spPr>
              <a:solidFill>
                <a:srgbClr val="AEABAB"/>
              </a:solidFill>
            </c:spPr>
            <c:extLst>
              <c:ext xmlns:c16="http://schemas.microsoft.com/office/drawing/2014/chart" uri="{C3380CC4-5D6E-409C-BE32-E72D297353CC}">
                <c16:uniqueId val="{00000007-000A-4C45-A43A-3AA69B6FEE6F}"/>
              </c:ext>
            </c:extLst>
          </c:dPt>
          <c:dPt>
            <c:idx val="4"/>
            <c:invertIfNegative val="1"/>
            <c:bubble3D val="0"/>
            <c:spPr>
              <a:solidFill>
                <a:srgbClr val="AEABAB"/>
              </a:solidFill>
            </c:spPr>
            <c:extLst>
              <c:ext xmlns:c16="http://schemas.microsoft.com/office/drawing/2014/chart" uri="{C3380CC4-5D6E-409C-BE32-E72D297353CC}">
                <c16:uniqueId val="{00000009-000A-4C45-A43A-3AA69B6FEE6F}"/>
              </c:ext>
            </c:extLst>
          </c:dPt>
          <c:dPt>
            <c:idx val="5"/>
            <c:invertIfNegative val="1"/>
            <c:bubble3D val="0"/>
            <c:spPr>
              <a:solidFill>
                <a:srgbClr val="AEABAB"/>
              </a:solidFill>
            </c:spPr>
            <c:extLst>
              <c:ext xmlns:c16="http://schemas.microsoft.com/office/drawing/2014/chart" uri="{C3380CC4-5D6E-409C-BE32-E72D297353CC}">
                <c16:uniqueId val="{0000000B-000A-4C45-A43A-3AA69B6FEE6F}"/>
              </c:ext>
            </c:extLst>
          </c:dPt>
          <c:dPt>
            <c:idx val="6"/>
            <c:invertIfNegative val="1"/>
            <c:bubble3D val="0"/>
            <c:spPr>
              <a:solidFill>
                <a:srgbClr val="AEABAB"/>
              </a:solidFill>
            </c:spPr>
            <c:extLst>
              <c:ext xmlns:c16="http://schemas.microsoft.com/office/drawing/2014/chart" uri="{C3380CC4-5D6E-409C-BE32-E72D297353CC}">
                <c16:uniqueId val="{0000000D-000A-4C45-A43A-3AA69B6FEE6F}"/>
              </c:ext>
            </c:extLst>
          </c:dPt>
          <c:dPt>
            <c:idx val="7"/>
            <c:invertIfNegative val="1"/>
            <c:bubble3D val="0"/>
            <c:spPr>
              <a:solidFill>
                <a:srgbClr val="AEABAB"/>
              </a:solidFill>
            </c:spPr>
            <c:extLst>
              <c:ext xmlns:c16="http://schemas.microsoft.com/office/drawing/2014/chart" uri="{C3380CC4-5D6E-409C-BE32-E72D297353CC}">
                <c16:uniqueId val="{0000000F-000A-4C45-A43A-3AA69B6FEE6F}"/>
              </c:ext>
            </c:extLst>
          </c:dPt>
          <c:dPt>
            <c:idx val="8"/>
            <c:invertIfNegative val="1"/>
            <c:bubble3D val="0"/>
            <c:spPr>
              <a:solidFill>
                <a:srgbClr val="AEABAB"/>
              </a:solidFill>
            </c:spPr>
            <c:extLst>
              <c:ext xmlns:c16="http://schemas.microsoft.com/office/drawing/2014/chart" uri="{C3380CC4-5D6E-409C-BE32-E72D297353CC}">
                <c16:uniqueId val="{00000011-000A-4C45-A43A-3AA69B6FEE6F}"/>
              </c:ext>
            </c:extLst>
          </c:dPt>
          <c:dPt>
            <c:idx val="9"/>
            <c:invertIfNegative val="1"/>
            <c:bubble3D val="0"/>
            <c:spPr>
              <a:solidFill>
                <a:srgbClr val="AEABAB"/>
              </a:solidFill>
            </c:spPr>
            <c:extLst>
              <c:ext xmlns:c16="http://schemas.microsoft.com/office/drawing/2014/chart" uri="{C3380CC4-5D6E-409C-BE32-E72D297353CC}">
                <c16:uniqueId val="{00000013-000A-4C45-A43A-3AA69B6FEE6F}"/>
              </c:ext>
            </c:extLst>
          </c:dPt>
          <c:dPt>
            <c:idx val="10"/>
            <c:invertIfNegative val="1"/>
            <c:bubble3D val="0"/>
            <c:spPr>
              <a:solidFill>
                <a:srgbClr val="AEABAB"/>
              </a:solidFill>
            </c:spPr>
            <c:extLst>
              <c:ext xmlns:c16="http://schemas.microsoft.com/office/drawing/2014/chart" uri="{C3380CC4-5D6E-409C-BE32-E72D297353CC}">
                <c16:uniqueId val="{00000015-000A-4C45-A43A-3AA69B6FEE6F}"/>
              </c:ext>
            </c:extLst>
          </c:dPt>
          <c:dPt>
            <c:idx val="11"/>
            <c:invertIfNegative val="1"/>
            <c:bubble3D val="0"/>
            <c:spPr>
              <a:solidFill>
                <a:srgbClr val="AEABAB"/>
              </a:solidFill>
            </c:spPr>
            <c:extLst>
              <c:ext xmlns:c16="http://schemas.microsoft.com/office/drawing/2014/chart" uri="{C3380CC4-5D6E-409C-BE32-E72D297353CC}">
                <c16:uniqueId val="{00000017-000A-4C45-A43A-3AA69B6FEE6F}"/>
              </c:ext>
            </c:extLst>
          </c:dPt>
          <c:dPt>
            <c:idx val="12"/>
            <c:invertIfNegative val="1"/>
            <c:bubble3D val="0"/>
            <c:spPr>
              <a:solidFill>
                <a:srgbClr val="AEABAB"/>
              </a:solidFill>
            </c:spPr>
            <c:extLst>
              <c:ext xmlns:c16="http://schemas.microsoft.com/office/drawing/2014/chart" uri="{C3380CC4-5D6E-409C-BE32-E72D297353CC}">
                <c16:uniqueId val="{00000019-000A-4C45-A43A-3AA69B6FEE6F}"/>
              </c:ext>
            </c:extLst>
          </c:dPt>
          <c:dPt>
            <c:idx val="13"/>
            <c:invertIfNegative val="1"/>
            <c:bubble3D val="0"/>
            <c:spPr>
              <a:solidFill>
                <a:srgbClr val="AEABAB"/>
              </a:solidFill>
            </c:spPr>
            <c:extLst>
              <c:ext xmlns:c16="http://schemas.microsoft.com/office/drawing/2014/chart" uri="{C3380CC4-5D6E-409C-BE32-E72D297353CC}">
                <c16:uniqueId val="{0000001B-000A-4C45-A43A-3AA69B6FEE6F}"/>
              </c:ext>
            </c:extLst>
          </c:dPt>
          <c:dPt>
            <c:idx val="14"/>
            <c:invertIfNegative val="1"/>
            <c:bubble3D val="0"/>
            <c:spPr>
              <a:solidFill>
                <a:srgbClr val="AEABAB"/>
              </a:solidFill>
            </c:spPr>
            <c:extLst>
              <c:ext xmlns:c16="http://schemas.microsoft.com/office/drawing/2014/chart" uri="{C3380CC4-5D6E-409C-BE32-E72D297353CC}">
                <c16:uniqueId val="{0000001D-000A-4C45-A43A-3AA69B6FEE6F}"/>
              </c:ext>
            </c:extLst>
          </c:dPt>
          <c:dPt>
            <c:idx val="15"/>
            <c:invertIfNegative val="1"/>
            <c:bubble3D val="0"/>
            <c:spPr>
              <a:solidFill>
                <a:srgbClr val="AEABAB"/>
              </a:solidFill>
            </c:spPr>
            <c:extLst>
              <c:ext xmlns:c16="http://schemas.microsoft.com/office/drawing/2014/chart" uri="{C3380CC4-5D6E-409C-BE32-E72D297353CC}">
                <c16:uniqueId val="{0000001F-000A-4C45-A43A-3AA69B6FEE6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None Razors</c:v>
                </c:pt>
                <c:pt idx="2">
                  <c:v>Harry's Razor Set Chrome Edition 1 Handle + 13 Cartridges</c:v>
                </c:pt>
                <c:pt idx="3">
                  <c:v>Gillette Proglide Plus Refills 16 Pack</c:v>
                </c:pt>
                <c:pt idx="4">
                  <c:v>Schick Hydro 3 Ultra Sensitive 1 Handle + 20 Cartridges</c:v>
                </c:pt>
                <c:pt idx="5">
                  <c:v>Kirkland Disposable Razors 20 pack </c:v>
                </c:pt>
                <c:pt idx="6">
                  <c:v>Kirkland Disposable Razors 30 pack </c:v>
                </c:pt>
                <c:pt idx="7">
                  <c:v>Schick Hydro 5 Sensitive 1 Handle + 16 Cartridges</c:v>
                </c:pt>
                <c:pt idx="8">
                  <c:v>Schick Quattro Titanium 4 Blade Systems 1 Handle + 13 Cartridges</c:v>
                </c:pt>
                <c:pt idx="9">
                  <c:v>Schick Hydro 5 Sensitive 1 Handle + 20 Cartridges</c:v>
                </c:pt>
                <c:pt idx="10">
                  <c:v>Kirkland 5 blades 1 Handle + 13 Cartridges</c:v>
                </c:pt>
              </c:strCache>
            </c:strRef>
          </c:cat>
          <c:val>
            <c:numRef>
              <c:f>Sheet1!$B$2:$B$12</c:f>
              <c:numCache>
                <c:formatCode>General</c:formatCode>
                <c:ptCount val="11"/>
                <c:pt idx="0">
                  <c:v>0.5780369791401142</c:v>
                </c:pt>
                <c:pt idx="1">
                  <c:v>0.26203305515690584</c:v>
                </c:pt>
                <c:pt idx="2">
                  <c:v>0.15992996570297965</c:v>
                </c:pt>
                <c:pt idx="3">
                  <c:v>1.0535468904736674E-2</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20-000A-4C45-A43A-3AA69B6FEE6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3 Ultra Sensitive 1 Handle + 20 Cartridges</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006C6D"/>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r>
                      <a:rPr lang="it-IT" sz="500">
                        <a:solidFill>
                          <a:srgbClr val="006C6D"/>
                        </a:solidFill>
                      </a:rPr>
                      <a:t>Schick Hydro 3 Ultra Sensitive 1 Handle + 20 Cartridges</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Custom Plus 3 Sensitive Disposable Razors 30 Pack</c:v>
                </c:pt>
                <c:pt idx="2">
                  <c:v>Gillette Mach 3 Advanced Refills 20 Pack</c:v>
                </c:pt>
                <c:pt idx="3">
                  <c:v>None Razors</c:v>
                </c:pt>
                <c:pt idx="4">
                  <c:v>Schick Hydro 3 Ultra Sensitive 1 Handle + 20 Cartridges</c:v>
                </c:pt>
                <c:pt idx="5">
                  <c:v>Harry's Razor Set Chrome Edition 1 Handle + 13 Cartridges</c:v>
                </c:pt>
              </c:strCache>
            </c:strRef>
          </c:cat>
          <c:val>
            <c:numRef>
              <c:f>Sheet1!$B$2:$B$7</c:f>
              <c:numCache>
                <c:formatCode>General</c:formatCode>
                <c:ptCount val="6"/>
                <c:pt idx="0">
                  <c:v>0.61608448727347032</c:v>
                </c:pt>
                <c:pt idx="1">
                  <c:v>0.42226568338928128</c:v>
                </c:pt>
                <c:pt idx="2">
                  <c:v>0.38391551272652968</c:v>
                </c:pt>
                <c:pt idx="3">
                  <c:v>0.23697432096942422</c:v>
                </c:pt>
                <c:pt idx="4">
                  <c:v>0.21270686805794867</c:v>
                </c:pt>
                <c:pt idx="5">
                  <c:v>0.12805312758334583</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5 Sensitive 1 Handle + 16 Cartridges</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006C6D"/>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r>
                      <a:rPr lang="en-US" sz="500">
                        <a:solidFill>
                          <a:srgbClr val="006C6D"/>
                        </a:solidFill>
                      </a:rPr>
                      <a:t>Schick Hydro 5 Sensitive 1 Handle + 16 Cartridges</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Custom Plus 3 Sensitive Disposable Razors 30 Pack</c:v>
                </c:pt>
                <c:pt idx="2">
                  <c:v>Gillette Mach 3 Advanced Refills 20 Pack</c:v>
                </c:pt>
                <c:pt idx="3">
                  <c:v>None Razors</c:v>
                </c:pt>
                <c:pt idx="4">
                  <c:v>Harry's Razor Set Chrome Edition 1 Handle + 13 Cartridges</c:v>
                </c:pt>
                <c:pt idx="5">
                  <c:v>Schick Hydro 5 Sensitive 1 Handle + 16 Cartridges</c:v>
                </c:pt>
              </c:strCache>
            </c:strRef>
          </c:cat>
          <c:val>
            <c:numRef>
              <c:f>Sheet1!$B$2:$B$7</c:f>
              <c:numCache>
                <c:formatCode>General</c:formatCode>
                <c:ptCount val="6"/>
                <c:pt idx="0">
                  <c:v>0.61626297448540235</c:v>
                </c:pt>
                <c:pt idx="1">
                  <c:v>0.45553000556614609</c:v>
                </c:pt>
                <c:pt idx="2">
                  <c:v>0.38373702551459765</c:v>
                </c:pt>
                <c:pt idx="3">
                  <c:v>0.27390490961735309</c:v>
                </c:pt>
                <c:pt idx="4">
                  <c:v>0.14288339869003119</c:v>
                </c:pt>
                <c:pt idx="5">
                  <c:v>0.1276816861264696</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5 Sensitive 1 Handle + 20 Cartridges</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006C6D"/>
              </a:solidFill>
            </c:spPr>
            <c:extLst>
              <c:ext xmlns:c16="http://schemas.microsoft.com/office/drawing/2014/chart" uri="{C3380CC4-5D6E-409C-BE32-E72D297353CC}">
                <c16:uniqueId val="{0000000B-902D-4251-AC41-C6D4CBCA5CD6}"/>
              </c:ext>
            </c:extLst>
          </c:dPt>
          <c:dPt>
            <c:idx val="6"/>
            <c:invertIfNegative val="1"/>
            <c:bubble3D val="0"/>
            <c:spPr>
              <a:solidFill>
                <a:srgbClr val="AEABAB"/>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AEABAB"/>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AEABAB"/>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r>
                      <a:rPr lang="en-US" sz="500">
                        <a:solidFill>
                          <a:srgbClr val="006C6D"/>
                        </a:solidFill>
                      </a:rPr>
                      <a:t>Schick Hydro 5 Sensitive 1 Handle + 20 Cartridges</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Custom Plus 3 Sensitive Disposable Razors 30 Pack</c:v>
                </c:pt>
                <c:pt idx="2">
                  <c:v>Gillette Mach 3 Advanced Refills 20 Pack</c:v>
                </c:pt>
                <c:pt idx="3">
                  <c:v>None Razors</c:v>
                </c:pt>
                <c:pt idx="4">
                  <c:v>Harry's Razor Set Chrome Edition 1 Handle + 13 Cartridges</c:v>
                </c:pt>
                <c:pt idx="5">
                  <c:v>Schick Hydro 5 Sensitive 1 Handle + 20 Cartridges</c:v>
                </c:pt>
              </c:strCache>
            </c:strRef>
          </c:cat>
          <c:val>
            <c:numRef>
              <c:f>Sheet1!$B$2:$B$7</c:f>
              <c:numCache>
                <c:formatCode>General</c:formatCode>
                <c:ptCount val="6"/>
                <c:pt idx="0">
                  <c:v>0.61583536315904919</c:v>
                </c:pt>
                <c:pt idx="1">
                  <c:v>0.4654908856048755</c:v>
                </c:pt>
                <c:pt idx="2">
                  <c:v>0.3841646368409507</c:v>
                </c:pt>
                <c:pt idx="3">
                  <c:v>0.27695897475175729</c:v>
                </c:pt>
                <c:pt idx="4">
                  <c:v>0.14859187186857661</c:v>
                </c:pt>
                <c:pt idx="5">
                  <c:v>0.10895826777479051</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Quattro Titanium 4 Blade Systems 1 Handle + 13 Cartridges</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006C6D"/>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AEABAB"/>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AEABAB"/>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extLst>
              <c:ext xmlns:c16="http://schemas.microsoft.com/office/drawing/2014/chart" uri="{C3380CC4-5D6E-409C-BE32-E72D297353CC}">
                <c16:uniqueId val="{00000065-999B-42C0-A7D9-A2057CE05A51}"/>
              </c:ext>
            </c:extLst>
          </c:dPt>
          <c:dPt>
            <c:idx val="51"/>
            <c:invertIfNegative val="1"/>
            <c:bubble3D val="0"/>
            <c:spPr>
              <a:solidFill>
                <a:srgbClr val="AEABAB"/>
              </a:solidFill>
            </c:spPr>
            <c:extLst>
              <c:ext xmlns:c16="http://schemas.microsoft.com/office/drawing/2014/chart" uri="{C3380CC4-5D6E-409C-BE32-E72D297353CC}">
                <c16:uniqueId val="{00000067-999B-42C0-A7D9-A2057CE05A51}"/>
              </c:ext>
            </c:extLst>
          </c:dPt>
          <c:dPt>
            <c:idx val="52"/>
            <c:invertIfNegative val="1"/>
            <c:bubble3D val="0"/>
            <c:spPr>
              <a:solidFill>
                <a:srgbClr val="AEABAB"/>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r>
                      <a:rPr lang="en-US" sz="500">
                        <a:solidFill>
                          <a:srgbClr val="006C6D"/>
                        </a:solidFill>
                      </a:rPr>
                      <a:t>Schick Quattro Titanium 4 Blade Systems 1 Handle + 13 Cartridges</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Custom Plus 3 Sensitive Disposable Razors 30 Pack</c:v>
                </c:pt>
                <c:pt idx="2">
                  <c:v>Gillette Mach 3 Advanced Refills 20 Pack</c:v>
                </c:pt>
                <c:pt idx="3">
                  <c:v>None Razors</c:v>
                </c:pt>
                <c:pt idx="4">
                  <c:v>Schick Quattro Titanium 4 Blade Systems 1 Handle + 13 Cartridges</c:v>
                </c:pt>
                <c:pt idx="5">
                  <c:v>Harry's Razor Set Chrome Edition 1 Handle + 13 Cartridges</c:v>
                </c:pt>
              </c:strCache>
            </c:strRef>
          </c:cat>
          <c:val>
            <c:numRef>
              <c:f>Sheet1!$B$2:$B$7</c:f>
              <c:numCache>
                <c:formatCode>General</c:formatCode>
                <c:ptCount val="6"/>
                <c:pt idx="0">
                  <c:v>0.6167817021016273</c:v>
                </c:pt>
                <c:pt idx="1">
                  <c:v>0.45523228343394645</c:v>
                </c:pt>
                <c:pt idx="2">
                  <c:v>0.3832182978983727</c:v>
                </c:pt>
                <c:pt idx="3">
                  <c:v>0.25677448910676226</c:v>
                </c:pt>
                <c:pt idx="4">
                  <c:v>0.15181087568751067</c:v>
                </c:pt>
                <c:pt idx="5">
                  <c:v>0.13618235177178062</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Schick Razor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Hydro 3 Ultra Sensitive 1 Handle + 20 Cartridges @19.99</c:v>
                </c:pt>
                <c:pt idx="1">
                  <c:v>Schick Hydro 5 Sensitive 1 Handle + 16 Cartridges @28.99</c:v>
                </c:pt>
                <c:pt idx="2">
                  <c:v>Schick Hydro 5 Sensitive 1 Handle + 20 Cartridges @35.99</c:v>
                </c:pt>
                <c:pt idx="3">
                  <c:v>Schick Quattro Titanium 4 Blade Systems 1 Handle + 13 Cartridges @19.99</c:v>
                </c:pt>
              </c:strCache>
            </c:strRef>
          </c:cat>
          <c:val>
            <c:numRef>
              <c:f>Sheet1!$B$2:$B$5</c:f>
              <c:numCache>
                <c:formatCode>General</c:formatCode>
                <c:ptCount val="4"/>
                <c:pt idx="0">
                  <c:v>100</c:v>
                </c:pt>
                <c:pt idx="1">
                  <c:v>100</c:v>
                </c:pt>
                <c:pt idx="2">
                  <c:v>100</c:v>
                </c:pt>
                <c:pt idx="3">
                  <c:v>100</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Schick Razor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Hydro 3 Ultra Sensitive 1 Handle + 20 Cartridges @19.99</c:v>
                </c:pt>
                <c:pt idx="1">
                  <c:v>Schick Hydro 5 Sensitive 1 Handle + 16 Cartridges @28.99</c:v>
                </c:pt>
                <c:pt idx="2">
                  <c:v>Schick Hydro 5 Sensitive 1 Handle + 20 Cartridges @35.99</c:v>
                </c:pt>
                <c:pt idx="3">
                  <c:v>Schick Quattro Titanium 4 Blade Systems 1 Handle + 13 Cartridges @19.99</c:v>
                </c:pt>
              </c:strCache>
            </c:strRef>
          </c:cat>
          <c:val>
            <c:numRef>
              <c:f>Sheet1!$C$2:$C$5</c:f>
              <c:numCache>
                <c:formatCode>General</c:formatCode>
                <c:ptCount val="4"/>
                <c:pt idx="0">
                  <c:v>100</c:v>
                </c:pt>
                <c:pt idx="1">
                  <c:v>100</c:v>
                </c:pt>
                <c:pt idx="2">
                  <c:v>100</c:v>
                </c:pt>
                <c:pt idx="3">
                  <c:v>100</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Schick Razor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Hydro 3 Ultra Sensitive 1 Handle + 20 Cartridges @19.99</c:v>
                </c:pt>
                <c:pt idx="1">
                  <c:v>Schick Hydro 5 Sensitive 1 Handle + 16 Cartridges @28.99</c:v>
                </c:pt>
                <c:pt idx="2">
                  <c:v>Schick Hydro 5 Sensitive 1 Handle + 20 Cartridges @35.99</c:v>
                </c:pt>
                <c:pt idx="3">
                  <c:v>Schick Quattro Titanium 4 Blade Systems 1 Handle + 13 Cartridges @19.99</c:v>
                </c:pt>
              </c:strCache>
            </c:strRef>
          </c:cat>
          <c:val>
            <c:numRef>
              <c:f>Sheet1!$D$2:$D$5</c:f>
              <c:numCache>
                <c:formatCode>General</c:formatCode>
                <c:ptCount val="4"/>
                <c:pt idx="0">
                  <c:v>100</c:v>
                </c:pt>
                <c:pt idx="1">
                  <c:v>100</c:v>
                </c:pt>
                <c:pt idx="2">
                  <c:v>100</c:v>
                </c:pt>
                <c:pt idx="3">
                  <c:v>100</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Kirkland Dispo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Kirkland Disposable Razors 20 pack  @14.99</c:v>
                </c:pt>
                <c:pt idx="1">
                  <c:v>Kirkland Disposable Razors 30 pack  @21.99</c:v>
                </c:pt>
              </c:strCache>
            </c:strRef>
          </c:cat>
          <c:val>
            <c:numRef>
              <c:f>Sheet1!$B$2:$B$3</c:f>
              <c:numCache>
                <c:formatCode>General</c:formatCode>
                <c:ptCount val="2"/>
                <c:pt idx="0">
                  <c:v>100</c:v>
                </c:pt>
                <c:pt idx="1">
                  <c:v>100</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Kirkland Dispo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Kirkland Disposable Razors 20 pack  @14.99</c:v>
                </c:pt>
                <c:pt idx="1">
                  <c:v>Kirkland Disposable Razors 30 pack  @21.99</c:v>
                </c:pt>
              </c:strCache>
            </c:strRef>
          </c:cat>
          <c:val>
            <c:numRef>
              <c:f>Sheet1!$C$2:$C$3</c:f>
              <c:numCache>
                <c:formatCode>General</c:formatCode>
                <c:ptCount val="2"/>
                <c:pt idx="0">
                  <c:v>100</c:v>
                </c:pt>
                <c:pt idx="1">
                  <c:v>100</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Kirkland Dispo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Kirkland Disposable Razors 20 pack  @14.99</c:v>
                </c:pt>
                <c:pt idx="1">
                  <c:v>Kirkland Disposable Razors 30 pack  @21.99</c:v>
                </c:pt>
              </c:strCache>
            </c:strRef>
          </c:cat>
          <c:val>
            <c:numRef>
              <c:f>Sheet1!$D$2:$D$3</c:f>
              <c:numCache>
                <c:formatCode>General</c:formatCode>
                <c:ptCount val="2"/>
                <c:pt idx="0">
                  <c:v>100</c:v>
                </c:pt>
                <c:pt idx="1">
                  <c:v>100</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Schick Hydro 3 Ultra Sensitive 1 Handle + 20 Cartridges</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Harry's Razor Set Chrome Edition 1 Handle + 13 Cartridges</c:v>
                </c:pt>
                <c:pt idx="2">
                  <c:v>None Razors</c:v>
                </c:pt>
                <c:pt idx="3">
                  <c:v>Gillette Proglide Plus Refills 16 Pack</c:v>
                </c:pt>
                <c:pt idx="4">
                  <c:v>Schick Xtreme 2 Sensitive Disposable Razors 60 Pack</c:v>
                </c:pt>
                <c:pt idx="5">
                  <c:v>Schick Xtreme 3 Sensitive Disposable Razors 20 Pack</c:v>
                </c:pt>
                <c:pt idx="6">
                  <c:v>Schick Xtreme 2 Sensitive Disposable Razors 48 Pack</c:v>
                </c:pt>
                <c:pt idx="7">
                  <c:v>Schick Xtreme 3 Sensitive Disposable Razors 30 Pack</c:v>
                </c:pt>
                <c:pt idx="8">
                  <c:v>Gillette Sensor 2 Plus Disposable Razors 52 Pack</c:v>
                </c:pt>
                <c:pt idx="9">
                  <c:v>Gillette Sensor 3 Sensitive Disposable Razors 24 Pack</c:v>
                </c:pt>
                <c:pt idx="10">
                  <c:v>Bic Flex 5 Disposable Razors 9 Pack </c:v>
                </c:pt>
              </c:strCache>
            </c:strRef>
          </c:cat>
          <c:val>
            <c:numRef>
              <c:f>Sheet1!$B$2:$B$12</c:f>
              <c:numCache>
                <c:formatCode>General</c:formatCode>
                <c:ptCount val="11"/>
                <c:pt idx="0">
                  <c:v>0.43899153879431496</c:v>
                </c:pt>
                <c:pt idx="1">
                  <c:v>0.24901704080280004</c:v>
                </c:pt>
                <c:pt idx="2">
                  <c:v>0.31199142040288447</c:v>
                </c:pt>
                <c:pt idx="3">
                  <c:v>9.181422882821616E-3</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Schick Hydro 5 Sensitive 1 Handle + 16 Cartridges</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Harry's Razor Set Chrome Edition 1 Handle + 13 Cartridges</c:v>
                </c:pt>
                <c:pt idx="2">
                  <c:v>None Razors</c:v>
                </c:pt>
                <c:pt idx="3">
                  <c:v>Gillette Proglide Plus Refills 16 Pack</c:v>
                </c:pt>
                <c:pt idx="4">
                  <c:v>Schick Xtreme 2 Sensitive Disposable Razors 60 Pack</c:v>
                </c:pt>
                <c:pt idx="5">
                  <c:v>Schick Xtreme 3 Sensitive Disposable Razors 20 Pack</c:v>
                </c:pt>
                <c:pt idx="6">
                  <c:v>Schick Xtreme 2 Sensitive Disposable Razors 48 Pack</c:v>
                </c:pt>
                <c:pt idx="7">
                  <c:v>Schick Xtreme 3 Sensitive Disposable Razors 30 Pack</c:v>
                </c:pt>
                <c:pt idx="8">
                  <c:v>Gillette Sensor 2 Plus Disposable Razors 52 Pack</c:v>
                </c:pt>
                <c:pt idx="9">
                  <c:v>Gillette Sensor 3 Sensitive Disposable Razors 24 Pack</c:v>
                </c:pt>
                <c:pt idx="10">
                  <c:v>Bic Flex 5 Disposable Razors 9 Pack </c:v>
                </c:pt>
              </c:strCache>
            </c:strRef>
          </c:cat>
          <c:val>
            <c:numRef>
              <c:f>Sheet1!$B$2:$B$12</c:f>
              <c:numCache>
                <c:formatCode>General</c:formatCode>
                <c:ptCount val="11"/>
                <c:pt idx="0">
                  <c:v>0.48901838120245711</c:v>
                </c:pt>
                <c:pt idx="1">
                  <c:v>0.29530944047360685</c:v>
                </c:pt>
                <c:pt idx="2">
                  <c:v>0.21567217832393484</c:v>
                </c:pt>
                <c:pt idx="3">
                  <c:v>1.5180779809642695E-2</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Schick Hydro 5 Sensitive 1 Handle + 20 Cartridges</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Harry's Razor Set Chrome Edition 1 Handle + 13 Cartridges</c:v>
                </c:pt>
                <c:pt idx="2">
                  <c:v>None Razors</c:v>
                </c:pt>
                <c:pt idx="3">
                  <c:v>Gillette Proglide Plus Refills 16 Pack</c:v>
                </c:pt>
                <c:pt idx="4">
                  <c:v>Schick Xtreme 2 Sensitive Disposable Razors 60 Pack</c:v>
                </c:pt>
                <c:pt idx="5">
                  <c:v>Schick Xtreme 3 Sensitive Disposable Razors 20 Pack</c:v>
                </c:pt>
                <c:pt idx="6">
                  <c:v>Schick Xtreme 2 Sensitive Disposable Razors 48 Pack</c:v>
                </c:pt>
                <c:pt idx="7">
                  <c:v>Schick Xtreme 3 Sensitive Disposable Razors 30 Pack</c:v>
                </c:pt>
                <c:pt idx="8">
                  <c:v>Gillette Sensor 2 Plus Disposable Razors 52 Pack</c:v>
                </c:pt>
                <c:pt idx="9">
                  <c:v>Gillette Sensor 3 Sensitive Disposable Razors 24 Pack</c:v>
                </c:pt>
                <c:pt idx="10">
                  <c:v>Bic Flex 5 Disposable Razors 9 Pack </c:v>
                </c:pt>
              </c:strCache>
            </c:strRef>
          </c:cat>
          <c:val>
            <c:numRef>
              <c:f>Sheet1!$B$2:$B$12</c:f>
              <c:numCache>
                <c:formatCode>General</c:formatCode>
                <c:ptCount val="11"/>
                <c:pt idx="0">
                  <c:v>0.48599149655270374</c:v>
                </c:pt>
                <c:pt idx="1">
                  <c:v>0.28943407853603076</c:v>
                </c:pt>
                <c:pt idx="2">
                  <c:v>0.22457442491126214</c:v>
                </c:pt>
                <c:pt idx="3">
                  <c:v>2.1867174798293466E-2</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Schick Quattro Titanium 4 Blade Systems 1 Handle + 13 Cartridges</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Harry's Razor Set Chrome Edition 1 Handle + 13 Cartridges</c:v>
                </c:pt>
                <c:pt idx="2">
                  <c:v>None Razors</c:v>
                </c:pt>
                <c:pt idx="3">
                  <c:v>Gillette Proglide Plus Refills 16 Pack</c:v>
                </c:pt>
                <c:pt idx="4">
                  <c:v>Schick Xtreme 2 Sensitive Disposable Razors 60 Pack</c:v>
                </c:pt>
                <c:pt idx="5">
                  <c:v>Schick Xtreme 3 Sensitive Disposable Razors 20 Pack</c:v>
                </c:pt>
                <c:pt idx="6">
                  <c:v>Schick Xtreme 2 Sensitive Disposable Razors 48 Pack</c:v>
                </c:pt>
                <c:pt idx="7">
                  <c:v>Schick Xtreme 3 Sensitive Disposable Razors 30 Pack</c:v>
                </c:pt>
                <c:pt idx="8">
                  <c:v>Gillette Sensor 2 Plus Disposable Razors 52 Pack</c:v>
                </c:pt>
                <c:pt idx="9">
                  <c:v>Gillette Sensor 3 Sensitive Disposable Razors 24 Pack</c:v>
                </c:pt>
                <c:pt idx="10">
                  <c:v>Bic Flex 5 Disposable Razors 9 Pack </c:v>
                </c:pt>
              </c:strCache>
            </c:strRef>
          </c:cat>
          <c:val>
            <c:numRef>
              <c:f>Sheet1!$B$2:$B$12</c:f>
              <c:numCache>
                <c:formatCode>General</c:formatCode>
                <c:ptCount val="11"/>
                <c:pt idx="0">
                  <c:v>0.40141975526970619</c:v>
                </c:pt>
                <c:pt idx="1">
                  <c:v>0.29711496378643459</c:v>
                </c:pt>
                <c:pt idx="2">
                  <c:v>0.30146528094385855</c:v>
                </c:pt>
                <c:pt idx="3">
                  <c:v>9.2260189446366266E-3</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Kirkland Disposable Razors 20 pack </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None Razors</c:v>
                </c:pt>
                <c:pt idx="2">
                  <c:v>Harry's Razor Set Chrome Edition 1 Handle + 13 Cartridges</c:v>
                </c:pt>
                <c:pt idx="3">
                  <c:v>Gillette Proglide Plus Refills 16 Pack</c:v>
                </c:pt>
                <c:pt idx="4">
                  <c:v>Schick Xtreme 2 Sensitive Disposable Razors 60 Pack</c:v>
                </c:pt>
                <c:pt idx="5">
                  <c:v>Schick Xtreme 3 Sensitive Disposable Razors 20 Pack</c:v>
                </c:pt>
                <c:pt idx="6">
                  <c:v>Schick Xtreme 2 Sensitive Disposable Razors 48 Pack</c:v>
                </c:pt>
                <c:pt idx="7">
                  <c:v>Schick Xtreme 3 Sensitive Disposable Razors 30 Pack</c:v>
                </c:pt>
                <c:pt idx="8">
                  <c:v>Schick Hydro 5 Sensitive 1 Handle + 16 Cartridges</c:v>
                </c:pt>
                <c:pt idx="9">
                  <c:v>Schick Hydro 5 Sensitive 1 Handle + 20 Cartridges</c:v>
                </c:pt>
                <c:pt idx="10">
                  <c:v>Bic Flex 5 Disposable Razors 9 Pack </c:v>
                </c:pt>
              </c:strCache>
            </c:strRef>
          </c:cat>
          <c:val>
            <c:numRef>
              <c:f>Sheet1!$B$2:$B$12</c:f>
              <c:numCache>
                <c:formatCode>General</c:formatCode>
                <c:ptCount val="11"/>
                <c:pt idx="0">
                  <c:v>0.61197343039601304</c:v>
                </c:pt>
                <c:pt idx="1">
                  <c:v>0.24056735833945805</c:v>
                </c:pt>
                <c:pt idx="2">
                  <c:v>0.14745921126452793</c:v>
                </c:pt>
                <c:pt idx="3">
                  <c:v>5.752090230542393E-3</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Kirkland Disposable Razors 30 pack </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None Razors</c:v>
                </c:pt>
                <c:pt idx="2">
                  <c:v>Harry's Razor Set Chrome Edition 1 Handle + 13 Cartridges</c:v>
                </c:pt>
                <c:pt idx="3">
                  <c:v>Gillette Proglide Plus Refills 16 Pack</c:v>
                </c:pt>
                <c:pt idx="4">
                  <c:v>Schick Xtreme 2 Sensitive Disposable Razors 60 Pack</c:v>
                </c:pt>
                <c:pt idx="5">
                  <c:v>Schick Xtreme 3 Sensitive Disposable Razors 20 Pack</c:v>
                </c:pt>
                <c:pt idx="6">
                  <c:v>Schick Xtreme 2 Sensitive Disposable Razors 48 Pack</c:v>
                </c:pt>
                <c:pt idx="7">
                  <c:v>Schick Xtreme 3 Sensitive Disposable Razors 30 Pack</c:v>
                </c:pt>
                <c:pt idx="8">
                  <c:v>Schick Hydro 5 Sensitive 1 Handle + 16 Cartridges</c:v>
                </c:pt>
                <c:pt idx="9">
                  <c:v>Schick Hydro 5 Sensitive 1 Handle + 20 Cartridges</c:v>
                </c:pt>
                <c:pt idx="10">
                  <c:v>Bic Flex 5 Disposable Razors 9 Pack </c:v>
                </c:pt>
              </c:strCache>
            </c:strRef>
          </c:cat>
          <c:val>
            <c:numRef>
              <c:f>Sheet1!$B$2:$B$12</c:f>
              <c:numCache>
                <c:formatCode>General</c:formatCode>
                <c:ptCount val="11"/>
                <c:pt idx="0">
                  <c:v>0.6588491030130843</c:v>
                </c:pt>
                <c:pt idx="1">
                  <c:v>0.18939446179749697</c:v>
                </c:pt>
                <c:pt idx="2">
                  <c:v>0.15175643518941773</c:v>
                </c:pt>
                <c:pt idx="3">
                  <c:v>5.2754622100460707E-3</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Kirkland 5 blades 1 Handle + 13 Cartridges</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006C6D"/>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AEABAB"/>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r>
                      <a:rPr lang="en-US" sz="500">
                        <a:solidFill>
                          <a:srgbClr val="006C6D"/>
                        </a:solidFill>
                      </a:rPr>
                      <a:t>Kirkland 5 blades 1 Handle + 13 Cartridges</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Proglide Plus Refills 16 Pack</c:v>
                </c:pt>
                <c:pt idx="1">
                  <c:v>Gillette Custom Plus 3 Sensitive Disposable Razors 30 Pack</c:v>
                </c:pt>
                <c:pt idx="2">
                  <c:v>Gillette Mach 3 Advanced Refills 20 Pack</c:v>
                </c:pt>
                <c:pt idx="3">
                  <c:v>None Razors</c:v>
                </c:pt>
                <c:pt idx="4">
                  <c:v>Kirkland 5 blades 1 Handle + 13 Cartridges</c:v>
                </c:pt>
                <c:pt idx="5">
                  <c:v>Harry's Razor Set Chrome Edition 1 Handle + 13 Cartridges</c:v>
                </c:pt>
              </c:strCache>
            </c:strRef>
          </c:cat>
          <c:val>
            <c:numRef>
              <c:f>Sheet1!$B$2:$B$7</c:f>
              <c:numCache>
                <c:formatCode>General</c:formatCode>
                <c:ptCount val="6"/>
                <c:pt idx="0">
                  <c:v>0.61392022782356503</c:v>
                </c:pt>
                <c:pt idx="1">
                  <c:v>0.438127507892898</c:v>
                </c:pt>
                <c:pt idx="2">
                  <c:v>0.38607977217643502</c:v>
                </c:pt>
                <c:pt idx="3">
                  <c:v>0.25184598944756292</c:v>
                </c:pt>
                <c:pt idx="4">
                  <c:v>0.18394089652985843</c:v>
                </c:pt>
                <c:pt idx="5">
                  <c:v>0.12608560612968073</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Kirkland Razor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Kirkland 5 blades 1 Handle + 13 Cartridges @19.99</c:v>
                </c:pt>
              </c:strCache>
            </c:strRef>
          </c:cat>
          <c:val>
            <c:numRef>
              <c:f>Sheet1!$B$2:$B$2</c:f>
              <c:numCache>
                <c:formatCode>General</c:formatCode>
                <c:ptCount val="1"/>
                <c:pt idx="0">
                  <c:v>100</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Kirkland Razor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Kirkland 5 blades 1 Handle + 13 Cartridges @19.99</c:v>
                </c:pt>
              </c:strCache>
            </c:strRef>
          </c:cat>
          <c:val>
            <c:numRef>
              <c:f>Sheet1!$C$2:$C$2</c:f>
              <c:numCache>
                <c:formatCode>General</c:formatCode>
                <c:ptCount val="1"/>
                <c:pt idx="0">
                  <c:v>100</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Kirkland Razor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Kirkland 5 blades 1 Handle + 13 Cartridges @19.99</c:v>
                </c:pt>
              </c:strCache>
            </c:strRef>
          </c:cat>
          <c:val>
            <c:numRef>
              <c:f>Sheet1!$D$2:$D$2</c:f>
              <c:numCache>
                <c:formatCode>General</c:formatCode>
                <c:ptCount val="1"/>
                <c:pt idx="0">
                  <c:v>100</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Kirkland 5 blades 1 Handle + 13 Cartridges</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Gillette Custom Plus 3 Sensitive Disposable Razors 30 Pack</c:v>
                </c:pt>
                <c:pt idx="1">
                  <c:v>Harry's Razor Set Chrome Edition 1 Handle + 13 Cartridges</c:v>
                </c:pt>
                <c:pt idx="2">
                  <c:v>None Razors</c:v>
                </c:pt>
                <c:pt idx="3">
                  <c:v>Gillette Proglide Plus Refills 16 Pack</c:v>
                </c:pt>
                <c:pt idx="4">
                  <c:v>Schick Xtreme 2 Sensitive Disposable Razors 60 Pack</c:v>
                </c:pt>
                <c:pt idx="5">
                  <c:v>Schick Xtreme 3 Sensitive Disposable Razors 20 Pack</c:v>
                </c:pt>
                <c:pt idx="6">
                  <c:v>Schick Xtreme 2 Sensitive Disposable Razors 48 Pack</c:v>
                </c:pt>
                <c:pt idx="7">
                  <c:v>Schick Xtreme 3 Sensitive Disposable Razors 30 Pack</c:v>
                </c:pt>
                <c:pt idx="8">
                  <c:v>Gillette Sensor 2 Plus Disposable Razors 52 Pack</c:v>
                </c:pt>
                <c:pt idx="9">
                  <c:v>Gillette Sensor 3 Sensitive Disposable Razors 24 Pack</c:v>
                </c:pt>
                <c:pt idx="10">
                  <c:v>Bic Flex 5 Disposable Razors 9 Pack </c:v>
                </c:pt>
              </c:strCache>
            </c:strRef>
          </c:cat>
          <c:val>
            <c:numRef>
              <c:f>Sheet1!$B$2:$B$12</c:f>
              <c:numCache>
                <c:formatCode>General</c:formatCode>
                <c:ptCount val="11"/>
                <c:pt idx="0">
                  <c:v>0.42120816505316966</c:v>
                </c:pt>
                <c:pt idx="1">
                  <c:v>0.29792331837754432</c:v>
                </c:pt>
                <c:pt idx="2">
                  <c:v>0.2808685165692858</c:v>
                </c:pt>
                <c:pt idx="3">
                  <c:v>2.3677193377583384E-2</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5 Blade Sensitive Refills 16 Pack</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006C6D"/>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AEABAB"/>
              </a:solidFill>
            </c:spPr>
            <c:extLst>
              <c:ext xmlns:c16="http://schemas.microsoft.com/office/drawing/2014/chart" uri="{C3380CC4-5D6E-409C-BE32-E72D297353CC}">
                <c16:uniqueId val="{0000003B-7980-4C82-8C1C-32D5A7B4E44B}"/>
              </c:ext>
            </c:extLst>
          </c:dPt>
          <c:dPt>
            <c:idx val="52"/>
            <c:invertIfNegative val="1"/>
            <c:bubble3D val="0"/>
            <c:spPr>
              <a:solidFill>
                <a:srgbClr val="AEABAB"/>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r>
                      <a:rPr lang="en-US" sz="500">
                        <a:solidFill>
                          <a:srgbClr val="006C6D"/>
                        </a:solidFill>
                      </a:rPr>
                      <a:t>Schick Hydro 5 Blade Sensitive Refills 16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7</c:f>
              <c:strCache>
                <c:ptCount val="6"/>
                <c:pt idx="0">
                  <c:v>Gillette Custom Plus 3 Sensitive Disposable Razors 30 Pack</c:v>
                </c:pt>
                <c:pt idx="1">
                  <c:v>Gillette Proglide Plus Refills 16 Pack</c:v>
                </c:pt>
                <c:pt idx="2">
                  <c:v>Gillette Mach 3 Advanced Refills 20 Pack</c:v>
                </c:pt>
                <c:pt idx="3">
                  <c:v>None Razors</c:v>
                </c:pt>
                <c:pt idx="4">
                  <c:v>Harry's Razor Set Chrome Edition 1 Handle + 13 Cartridges</c:v>
                </c:pt>
                <c:pt idx="5">
                  <c:v>Schick Hydro 5 Blade Sensitive Refills 16 Pack</c:v>
                </c:pt>
              </c:strCache>
            </c:strRef>
          </c:cat>
          <c:val>
            <c:numRef>
              <c:f>Sheet1!$B$2:$B$7</c:f>
              <c:numCache>
                <c:formatCode>General</c:formatCode>
                <c:ptCount val="6"/>
                <c:pt idx="0">
                  <c:v>0.51972581924980665</c:v>
                </c:pt>
                <c:pt idx="1">
                  <c:v>0.51452592951493459</c:v>
                </c:pt>
                <c:pt idx="2">
                  <c:v>0.3173431491274144</c:v>
                </c:pt>
                <c:pt idx="3">
                  <c:v>0.30137091989253156</c:v>
                </c:pt>
                <c:pt idx="4">
                  <c:v>0.17890326085766167</c:v>
                </c:pt>
                <c:pt idx="5">
                  <c:v>0.16813092135765109</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031574-19AE-4EFF-8E5D-910302784672}" type="datetimeFigureOut">
              <a:rPr lang="en-CH" smtClean="0"/>
              <a:t>19/08/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E13843-85DD-499F-B752-681F6384D798}" type="slidenum">
              <a:rPr lang="en-CH" smtClean="0"/>
              <a:t>‹#›</a:t>
            </a:fld>
            <a:endParaRPr lang="en-CH"/>
          </a:p>
        </p:txBody>
      </p:sp>
    </p:spTree>
    <p:extLst>
      <p:ext uri="{BB962C8B-B14F-4D97-AF65-F5344CB8AC3E}">
        <p14:creationId xmlns:p14="http://schemas.microsoft.com/office/powerpoint/2010/main" val="3716441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D32FC8-D496-F953-5B65-56C80C3568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3A6F63-CE14-A2A4-13C5-3F728062235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0E9DE2-2C45-21D3-C4ED-4CBE31BBA4CB}"/>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094CE3FA-1DB5-063E-0322-E68733FD9CBE}"/>
              </a:ext>
            </a:extLst>
          </p:cNvPr>
          <p:cNvSpPr>
            <a:spLocks noGrp="1"/>
          </p:cNvSpPr>
          <p:nvPr>
            <p:ph type="sldNum" sz="quarter" idx="5"/>
          </p:nvPr>
        </p:nvSpPr>
        <p:spPr/>
        <p:txBody>
          <a:bodyPr/>
          <a:lstStyle/>
          <a:p>
            <a:fld id="{4CEE16E6-1DE9-413F-AA9F-05985E570417}" type="slidenum">
              <a:rPr lang="en-US" smtClean="0"/>
              <a:t>1</a:t>
            </a:fld>
            <a:endParaRPr lang="en-US"/>
          </a:p>
        </p:txBody>
      </p:sp>
    </p:spTree>
    <p:extLst>
      <p:ext uri="{BB962C8B-B14F-4D97-AF65-F5344CB8AC3E}">
        <p14:creationId xmlns:p14="http://schemas.microsoft.com/office/powerpoint/2010/main" val="40346816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CA6151-E4A1-D2AA-1083-42A373CFB0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341767E-7B4F-D5F7-B255-3AF78ADA1C0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80E9F2-B6A8-2BBB-D769-ED4B941C90D3}"/>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4F220072-8AD6-1880-613E-2B1925049C69}"/>
              </a:ext>
            </a:extLst>
          </p:cNvPr>
          <p:cNvSpPr>
            <a:spLocks noGrp="1"/>
          </p:cNvSpPr>
          <p:nvPr>
            <p:ph type="sldNum" sz="quarter" idx="5"/>
          </p:nvPr>
        </p:nvSpPr>
        <p:spPr/>
        <p:txBody>
          <a:bodyPr/>
          <a:lstStyle/>
          <a:p>
            <a:fld id="{4CEE16E6-1DE9-413F-AA9F-05985E570417}" type="slidenum">
              <a:rPr lang="en-US" smtClean="0"/>
              <a:t>5</a:t>
            </a:fld>
            <a:endParaRPr lang="en-US"/>
          </a:p>
        </p:txBody>
      </p:sp>
    </p:spTree>
    <p:extLst>
      <p:ext uri="{BB962C8B-B14F-4D97-AF65-F5344CB8AC3E}">
        <p14:creationId xmlns:p14="http://schemas.microsoft.com/office/powerpoint/2010/main" val="31475143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79A544-C7D2-B974-A173-BDE9FFC008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18DC98-7165-3A1B-FF4F-4254EB6A861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E456B8C-F11E-B58C-A597-70FC6783E093}"/>
              </a:ext>
            </a:extLst>
          </p:cNvPr>
          <p:cNvSpPr>
            <a:spLocks noGrp="1"/>
          </p:cNvSpPr>
          <p:nvPr>
            <p:ph type="body" idx="1"/>
          </p:nvPr>
        </p:nvSpPr>
        <p:spPr/>
        <p:txBody>
          <a:bodyPr/>
          <a:lstStyle/>
          <a:p>
            <a:endParaRPr lang="en-CH" dirty="0"/>
          </a:p>
        </p:txBody>
      </p:sp>
      <p:sp>
        <p:nvSpPr>
          <p:cNvPr id="4" name="Slide Number Placeholder 3">
            <a:extLst>
              <a:ext uri="{FF2B5EF4-FFF2-40B4-BE49-F238E27FC236}">
                <a16:creationId xmlns:a16="http://schemas.microsoft.com/office/drawing/2014/main" id="{5C1AB362-B591-8703-0294-983A19CFF47B}"/>
              </a:ext>
            </a:extLst>
          </p:cNvPr>
          <p:cNvSpPr>
            <a:spLocks noGrp="1"/>
          </p:cNvSpPr>
          <p:nvPr>
            <p:ph type="sldNum" sz="quarter" idx="5"/>
          </p:nvPr>
        </p:nvSpPr>
        <p:spPr/>
        <p:txBody>
          <a:bodyPr/>
          <a:lstStyle/>
          <a:p>
            <a:fld id="{37E13843-85DD-499F-B752-681F6384D798}" type="slidenum">
              <a:rPr lang="en-CH" smtClean="0"/>
              <a:t>6</a:t>
            </a:fld>
            <a:endParaRPr lang="en-CH"/>
          </a:p>
        </p:txBody>
      </p:sp>
    </p:spTree>
    <p:extLst>
      <p:ext uri="{BB962C8B-B14F-4D97-AF65-F5344CB8AC3E}">
        <p14:creationId xmlns:p14="http://schemas.microsoft.com/office/powerpoint/2010/main" val="19158092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07F6E1-9415-925F-28A1-75566AAB427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AD8036-D34F-4AE6-8E0C-A516A037F49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0FE657-F418-53A5-D70C-18566183C237}"/>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3CA950C-F196-FD16-68CE-467BCAC44886}"/>
              </a:ext>
            </a:extLst>
          </p:cNvPr>
          <p:cNvSpPr>
            <a:spLocks noGrp="1"/>
          </p:cNvSpPr>
          <p:nvPr>
            <p:ph type="sldNum" sz="quarter" idx="5"/>
          </p:nvPr>
        </p:nvSpPr>
        <p:spPr/>
        <p:txBody>
          <a:bodyPr/>
          <a:lstStyle/>
          <a:p>
            <a:fld id="{4CEE16E6-1DE9-413F-AA9F-05985E570417}" type="slidenum">
              <a:rPr lang="en-US" smtClean="0"/>
              <a:t>9</a:t>
            </a:fld>
            <a:endParaRPr lang="en-US"/>
          </a:p>
        </p:txBody>
      </p:sp>
    </p:spTree>
    <p:extLst>
      <p:ext uri="{BB962C8B-B14F-4D97-AF65-F5344CB8AC3E}">
        <p14:creationId xmlns:p14="http://schemas.microsoft.com/office/powerpoint/2010/main" val="19861081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D86818-27A8-E1C6-C961-6A66B9CD319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CE3E7C-E9A8-766D-8F5D-07A8CEC3C2A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7A32AFD-9FC9-0464-738C-A658E889B069}"/>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6FBA1A75-EA36-A7CC-5DD1-618DEE4FE397}"/>
              </a:ext>
            </a:extLst>
          </p:cNvPr>
          <p:cNvSpPr>
            <a:spLocks noGrp="1"/>
          </p:cNvSpPr>
          <p:nvPr>
            <p:ph type="sldNum" sz="quarter" idx="5"/>
          </p:nvPr>
        </p:nvSpPr>
        <p:spPr/>
        <p:txBody>
          <a:bodyPr/>
          <a:lstStyle/>
          <a:p>
            <a:fld id="{4CEE16E6-1DE9-413F-AA9F-05985E570417}" type="slidenum">
              <a:rPr lang="en-US" smtClean="0"/>
              <a:t>13</a:t>
            </a:fld>
            <a:endParaRPr lang="en-US"/>
          </a:p>
        </p:txBody>
      </p:sp>
    </p:spTree>
    <p:extLst>
      <p:ext uri="{BB962C8B-B14F-4D97-AF65-F5344CB8AC3E}">
        <p14:creationId xmlns:p14="http://schemas.microsoft.com/office/powerpoint/2010/main" val="22969566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83A027-4B7E-B13D-5169-382ED956365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E59EEF-5695-637D-F451-9129B07D20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237E02-0ABF-7F25-5E3B-70FC54B09AB1}"/>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C2C7031D-DFF5-1A9D-3804-06868114E5DE}"/>
              </a:ext>
            </a:extLst>
          </p:cNvPr>
          <p:cNvSpPr>
            <a:spLocks noGrp="1"/>
          </p:cNvSpPr>
          <p:nvPr>
            <p:ph type="sldNum" sz="quarter" idx="5"/>
          </p:nvPr>
        </p:nvSpPr>
        <p:spPr/>
        <p:txBody>
          <a:bodyPr/>
          <a:lstStyle/>
          <a:p>
            <a:fld id="{4CEE16E6-1DE9-413F-AA9F-05985E570417}" type="slidenum">
              <a:rPr lang="en-US" smtClean="0"/>
              <a:t>17</a:t>
            </a:fld>
            <a:endParaRPr lang="en-US"/>
          </a:p>
        </p:txBody>
      </p:sp>
    </p:spTree>
    <p:extLst>
      <p:ext uri="{BB962C8B-B14F-4D97-AF65-F5344CB8AC3E}">
        <p14:creationId xmlns:p14="http://schemas.microsoft.com/office/powerpoint/2010/main" val="1307513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29512570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1110852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74427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5450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34433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13007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779768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937019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094348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1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801013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98493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5628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725938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34819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6652119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041526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6476737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1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19939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205657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8016042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1784698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81203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1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236203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265349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19/2025</a:t>
            </a:fld>
            <a:endParaRPr lang="en-US"/>
          </a:p>
        </p:txBody>
      </p:sp>
    </p:spTree>
    <p:extLst>
      <p:ext uri="{BB962C8B-B14F-4D97-AF65-F5344CB8AC3E}">
        <p14:creationId xmlns:p14="http://schemas.microsoft.com/office/powerpoint/2010/main" val="3895789664"/>
      </p:ext>
    </p:extLst>
  </p:cSld>
  <p:clrMap bg1="lt1" tx1="dk1" bg2="lt2" tx2="dk2" accent1="accent1" accent2="accent2" accent3="accent3" accent4="accent4" accent5="accent5" accent6="accent6" hlink="hlink" folHlink="folHlink"/>
  <p:sldLayoutIdLst>
    <p:sldLayoutId id="2147483845"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904" r:id="rId23"/>
    <p:sldLayoutId id="214748390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10.xml"/><Relationship Id="rId5" Type="http://schemas.openxmlformats.org/officeDocument/2006/relationships/chart" Target="../charts/chart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1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13.xml"/><Relationship Id="rId5" Type="http://schemas.openxmlformats.org/officeDocument/2006/relationships/chart" Target="../charts/chart12.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4.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oleObject" Target="../embeddings/oleObject28.bin"/><Relationship Id="rId7" Type="http://schemas.openxmlformats.org/officeDocument/2006/relationships/chart" Target="../charts/chart16.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15.xml"/><Relationship Id="rId5" Type="http://schemas.openxmlformats.org/officeDocument/2006/relationships/chart" Target="../charts/chart14.xml"/><Relationship Id="rId4" Type="http://schemas.openxmlformats.org/officeDocument/2006/relationships/image" Target="../media/image28.emf"/><Relationship Id="rId9" Type="http://schemas.openxmlformats.org/officeDocument/2006/relationships/chart" Target="../charts/chart18.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19.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8" Type="http://schemas.openxmlformats.org/officeDocument/2006/relationships/chart" Target="../charts/chart23.xml"/><Relationship Id="rId3" Type="http://schemas.openxmlformats.org/officeDocument/2006/relationships/oleObject" Target="../embeddings/oleObject28.bin"/><Relationship Id="rId7" Type="http://schemas.openxmlformats.org/officeDocument/2006/relationships/chart" Target="../charts/chart22.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21.xml"/><Relationship Id="rId5" Type="http://schemas.openxmlformats.org/officeDocument/2006/relationships/chart" Target="../charts/chart20.xml"/><Relationship Id="rId4" Type="http://schemas.openxmlformats.org/officeDocument/2006/relationships/image" Target="../media/image28.emf"/><Relationship Id="rId9" Type="http://schemas.openxmlformats.org/officeDocument/2006/relationships/chart" Target="../charts/chart24.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18.xml.rels><?xml version="1.0" encoding="UTF-8" standalone="yes"?>
<Relationships xmlns="http://schemas.openxmlformats.org/package/2006/relationships"><Relationship Id="rId8" Type="http://schemas.openxmlformats.org/officeDocument/2006/relationships/chart" Target="../charts/chart28.xml"/><Relationship Id="rId3" Type="http://schemas.openxmlformats.org/officeDocument/2006/relationships/oleObject" Target="../embeddings/oleObject28.bin"/><Relationship Id="rId7" Type="http://schemas.openxmlformats.org/officeDocument/2006/relationships/chart" Target="../charts/chart27.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29.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8" Type="http://schemas.openxmlformats.org/officeDocument/2006/relationships/chart" Target="../charts/chart33.xml"/><Relationship Id="rId3" Type="http://schemas.openxmlformats.org/officeDocument/2006/relationships/oleObject" Target="../embeddings/oleObject28.bin"/><Relationship Id="rId7" Type="http://schemas.openxmlformats.org/officeDocument/2006/relationships/chart" Target="../charts/chart32.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31.xml"/><Relationship Id="rId5" Type="http://schemas.openxmlformats.org/officeDocument/2006/relationships/chart" Target="../charts/chart30.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7.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chart" Target="../charts/chart8.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44AD76-D5CA-9BE6-4395-8368094DDCE4}"/>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9274B8FC-8ECC-EE5A-BEE3-10C8D772954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B5AC7D81-22E5-B4BD-232E-9072F7D0F2EC}"/>
              </a:ext>
            </a:extLst>
          </p:cNvPr>
          <p:cNvSpPr>
            <a:spLocks noGrp="1"/>
          </p:cNvSpPr>
          <p:nvPr>
            <p:ph type="body" sz="quarter" idx="18"/>
          </p:nvPr>
        </p:nvSpPr>
        <p:spPr/>
        <p:txBody>
          <a:bodyPr/>
          <a:lstStyle/>
          <a:p>
            <a:r>
              <a:t>Summary | Innovations | Kirkland Dispo</a:t>
            </a:r>
          </a:p>
        </p:txBody>
      </p:sp>
      <p:sp>
        <p:nvSpPr>
          <p:cNvPr id="2" name="Title 1">
            <a:extLst>
              <a:ext uri="{FF2B5EF4-FFF2-40B4-BE49-F238E27FC236}">
                <a16:creationId xmlns:a16="http://schemas.microsoft.com/office/drawing/2014/main" id="{085AD3FF-9ECF-AF75-9486-77269E10087F}"/>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F8CA667-6D8F-D159-A904-3041033C5F52}"/>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F65122-D620-F9E1-0DD1-B969D28D1724}"/>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1</a:t>
            </a:fld>
            <a:endParaRPr lang="en-US"/>
          </a:p>
        </p:txBody>
      </p:sp>
      <p:graphicFrame>
        <p:nvGraphicFramePr>
          <p:cNvPr id="7" name="Table 6">
            <a:extLst>
              <a:ext uri="{FF2B5EF4-FFF2-40B4-BE49-F238E27FC236}">
                <a16:creationId xmlns:a16="http://schemas.microsoft.com/office/drawing/2014/main" id="{A3788890-4C82-1E19-0DEC-30EF9FAFD778}"/>
              </a:ext>
            </a:extLst>
          </p:cNvPr>
          <p:cNvGraphicFramePr>
            <a:graphicFrameLocks noGrp="1"/>
          </p:cNvGraphicFramePr>
          <p:nvPr/>
        </p:nvGraphicFramePr>
        <p:xfrm>
          <a:off x="503238" y="1049315"/>
          <a:ext cx="8243580" cy="373052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0">
                <a:tc>
                  <a:txBody>
                    <a:bodyPr/>
                    <a:lstStyle/>
                    <a:p>
                      <a:pPr algn="ctr">
                        <a:defRPr sz="800">
                          <a:latin typeface="Nexa Book"/>
                        </a:defRPr>
                      </a:pPr>
                      <a:r>
                        <a:rPr sz="700"/>
                        <a:t>Kirkland Disposable Razors 20 pack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65.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0">
                <a:tc>
                  <a:txBody>
                    <a:bodyPr/>
                    <a:lstStyle/>
                    <a:p>
                      <a:pPr algn="ctr">
                        <a:defRPr sz="800">
                          <a:latin typeface="Nexa Book"/>
                        </a:defRPr>
                      </a:pPr>
                      <a:r>
                        <a:rPr sz="700"/>
                        <a:t>Kirkland Disposable Razors 30 pack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65.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C7017B73-0062-6B50-5DF8-B510F0BA0C44}"/>
              </a:ext>
            </a:extLst>
          </p:cNvPr>
          <p:cNvSpPr>
            <a:spLocks noGrp="1"/>
          </p:cNvSpPr>
          <p:nvPr>
            <p:ph type="body" sz="quarter" idx="17"/>
          </p:nvPr>
        </p:nvSpPr>
        <p:spPr>
          <a:xfrm>
            <a:off x="0" y="4734106"/>
            <a:ext cx="4572000" cy="222878"/>
          </a:xfrm>
        </p:spPr>
        <p:txBody>
          <a:bodyPr/>
          <a:lstStyle/>
          <a:p>
            <a:r>
              <a:t>DATA SOURCE: Consumer Test | July 2025</a:t>
            </a:r>
          </a:p>
        </p:txBody>
      </p:sp>
    </p:spTree>
    <p:extLst>
      <p:ext uri="{BB962C8B-B14F-4D97-AF65-F5344CB8AC3E}">
        <p14:creationId xmlns:p14="http://schemas.microsoft.com/office/powerpoint/2010/main" val="30924707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4AB980-88FA-349E-1F66-61B20C2E53A2}"/>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0AF16A4-439C-05BE-EEAC-869263DD5BB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D71F61A1-D46B-60DE-CDA2-6DA9FA69F59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1150BFA7-9271-A7CE-635C-BF8A25ECC3FB}"/>
              </a:ext>
            </a:extLst>
          </p:cNvPr>
          <p:cNvGraphicFramePr>
            <a:graphicFrameLocks/>
          </p:cNvGraphicFramePr>
          <p:nvPr/>
        </p:nvGraphicFramePr>
        <p:xfrm>
          <a:off x="2613976" y="1131888"/>
          <a:ext cx="5670000" cy="17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0CC8A095-48ED-3367-D60D-E0ACB82CE07E}"/>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986A0B85-9BF0-0516-68E4-F7DFFCD83B7C}"/>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9936D945-D97F-AB55-86B3-56F14B043C4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10" name="Content Placeholder 9">
            <a:extLst>
              <a:ext uri="{FF2B5EF4-FFF2-40B4-BE49-F238E27FC236}">
                <a16:creationId xmlns:a16="http://schemas.microsoft.com/office/drawing/2014/main" id="{024F1AF7-E814-0F6F-0052-76D3DF6C77C0}"/>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Text Placeholder 4">
            <a:extLst>
              <a:ext uri="{FF2B5EF4-FFF2-40B4-BE49-F238E27FC236}">
                <a16:creationId xmlns:a16="http://schemas.microsoft.com/office/drawing/2014/main" id="{E5BFFBE8-FF7B-CDFF-9B00-BB6724F34B11}"/>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Costco | Schick Blade</a:t>
            </a:r>
          </a:p>
        </p:txBody>
      </p:sp>
      <p:sp>
        <p:nvSpPr>
          <p:cNvPr id="8" name="Title 7">
            <a:extLst>
              <a:ext uri="{FF2B5EF4-FFF2-40B4-BE49-F238E27FC236}">
                <a16:creationId xmlns:a16="http://schemas.microsoft.com/office/drawing/2014/main" id="{6CBCDAD8-F10C-42D2-D45A-8A3E2C889786}"/>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CA1E06AF-FDA3-8918-F20F-9A94026F1CFC}"/>
              </a:ext>
            </a:extLst>
          </p:cNvPr>
          <p:cNvGraphicFramePr>
            <a:graphicFrameLocks/>
          </p:cNvGraphicFramePr>
          <p:nvPr/>
        </p:nvGraphicFramePr>
        <p:xfrm>
          <a:off x="2613976" y="2964741"/>
          <a:ext cx="5670000" cy="1764000"/>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E22295DA-954F-7D4A-18EF-6561A9E955D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D6F62DEF-0703-A1FD-B54B-E5BAA97CFE2C}"/>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765C906A-9DB7-8574-FEE3-23AEFB362FB1}"/>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15" name="TextBox 14">
            <a:extLst>
              <a:ext uri="{FF2B5EF4-FFF2-40B4-BE49-F238E27FC236}">
                <a16:creationId xmlns:a16="http://schemas.microsoft.com/office/drawing/2014/main" id="{FD283719-BFD8-4C2B-53A2-33BEC72A8223}"/>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26048757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E32199-BC37-5576-F4F5-5034234E0950}"/>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80A48CF-CE3A-0B8F-AE4C-15FF3D7CB3A2}"/>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A022DE1E-19FD-3F35-4B13-AC8A546DF01C}"/>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ABC1BACC-64B3-C03D-DFFD-CFE70B02A3FC}"/>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F9B08047-5868-DCEA-E505-696264721A11}"/>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dirty="0"/>
          </a:p>
        </p:txBody>
      </p:sp>
      <p:sp>
        <p:nvSpPr>
          <p:cNvPr id="8" name="Text Placeholder 7">
            <a:extLst>
              <a:ext uri="{FF2B5EF4-FFF2-40B4-BE49-F238E27FC236}">
                <a16:creationId xmlns:a16="http://schemas.microsoft.com/office/drawing/2014/main" id="{3D595B2D-5704-F219-31DE-1F6370FE40EA}"/>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Content Placeholder 4">
            <a:extLst>
              <a:ext uri="{FF2B5EF4-FFF2-40B4-BE49-F238E27FC236}">
                <a16:creationId xmlns:a16="http://schemas.microsoft.com/office/drawing/2014/main" id="{3F15F691-D681-2AFF-C126-D01D096C7FC0}"/>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Costco | Schick Blade</a:t>
            </a:r>
          </a:p>
        </p:txBody>
      </p:sp>
      <p:sp>
        <p:nvSpPr>
          <p:cNvPr id="3" name="Title 2">
            <a:extLst>
              <a:ext uri="{FF2B5EF4-FFF2-40B4-BE49-F238E27FC236}">
                <a16:creationId xmlns:a16="http://schemas.microsoft.com/office/drawing/2014/main" id="{12A9A741-FD7E-AB39-03C2-3D5B88FA9177}"/>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ADCFA0B3-A387-D9E0-F8D3-992D9A895C66}"/>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FEF18AA0-831B-9163-698C-AD26E2AA0FC0}"/>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1F9B1CD2-38F4-E78A-BC8A-56CDD2E3E0E0}"/>
              </a:ext>
            </a:extLst>
          </p:cNvPr>
          <p:cNvGraphicFramePr>
            <a:graphicFrameLocks/>
          </p:cNvGraphicFramePr>
          <p:nvPr/>
        </p:nvGraphicFramePr>
        <p:xfrm>
          <a:off x="174228" y="3979225"/>
          <a:ext cx="8464425" cy="105918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3507339">
                  <a:extLst>
                    <a:ext uri="{9D8B030D-6E8A-4147-A177-3AD203B41FA5}">
                      <a16:colId xmlns:a16="http://schemas.microsoft.com/office/drawing/2014/main" val="4292788590"/>
                    </a:ext>
                  </a:extLst>
                </a:gridCol>
                <a:gridCol w="3507339">
                  <a:extLst>
                    <a:ext uri="{9D8B030D-6E8A-4147-A177-3AD203B41FA5}">
                      <a16:colId xmlns:a16="http://schemas.microsoft.com/office/drawing/2014/main" val="401539003"/>
                    </a:ext>
                  </a:extLst>
                </a:gridCol>
              </a:tblGrid>
              <a:tr h="320040">
                <a:tc>
                  <a:txBody>
                    <a:bodyPr/>
                    <a:lstStyle/>
                    <a:p>
                      <a:pPr>
                        <a:defRPr>
                          <a:latin typeface="Nexa Bold"/>
                        </a:defRPr>
                      </a:pPr>
                      <a:r>
                        <a:rPr sz="800" b="0"/>
                        <a:t>Cannibalization within </a:t>
                      </a:r>
                    </a:p>
                    <a:p>
                      <a:pPr>
                        <a:defRPr>
                          <a:latin typeface="Nexa Bold"/>
                        </a:defRPr>
                      </a:pPr>
                      <a:r>
                        <a:rPr sz="800" b="0"/>
                        <a:t>Edgewell Personal Care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Personal Care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Personal Care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6902666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122518-8905-6CAE-E2A9-55F8F69CCF07}"/>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6B9A702-C132-0C7C-319E-A39DD3A18D6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BFA16624-B653-2230-D2EE-DA1056A50A79}"/>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8BF95572-B511-5E54-2C36-46C4AD59286E}"/>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792310B-48CC-9A4C-39FF-39B17D52F4C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8" name="Text Placeholder 7">
            <a:extLst>
              <a:ext uri="{FF2B5EF4-FFF2-40B4-BE49-F238E27FC236}">
                <a16:creationId xmlns:a16="http://schemas.microsoft.com/office/drawing/2014/main" id="{26B94577-ADFD-3F34-D879-57194658C114}"/>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DA4F596C-0022-A3BF-7109-896FF235C246}"/>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Costco | Schick Blade</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B956B905-A9D2-5D5D-1D18-E79BE4257917}"/>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CF2A4AF-AC48-EDC6-D4D5-6C0C0D514995}"/>
              </a:ext>
            </a:extLst>
          </p:cNvPr>
          <p:cNvGraphicFramePr>
            <a:graphicFrameLocks noGrp="1"/>
          </p:cNvGraphicFramePr>
          <p:nvPr>
            <p:ph idx="4294967295"/>
          </p:nvPr>
        </p:nvGraphicFramePr>
        <p:xfrm>
          <a:off x="520200" y="1122363"/>
          <a:ext cx="6845570" cy="3625385"/>
        </p:xfrm>
        <a:graphic>
          <a:graphicData uri="http://schemas.openxmlformats.org/drawingml/2006/table">
            <a:tbl>
              <a:tblPr firstRow="1" bandRow="1">
                <a:tableStyleId>{5C22544A-7EE6-4342-B048-85BDC9FD1C3A}</a:tableStyleId>
              </a:tblPr>
              <a:tblGrid>
                <a:gridCol w="2462624">
                  <a:extLst>
                    <a:ext uri="{9D8B030D-6E8A-4147-A177-3AD203B41FA5}">
                      <a16:colId xmlns:a16="http://schemas.microsoft.com/office/drawing/2014/main" val="721526330"/>
                    </a:ext>
                  </a:extLst>
                </a:gridCol>
                <a:gridCol w="2191473">
                  <a:extLst>
                    <a:ext uri="{9D8B030D-6E8A-4147-A177-3AD203B41FA5}">
                      <a16:colId xmlns:a16="http://schemas.microsoft.com/office/drawing/2014/main" val="1048155142"/>
                    </a:ext>
                  </a:extLst>
                </a:gridCol>
                <a:gridCol w="2191473">
                  <a:extLst>
                    <a:ext uri="{9D8B030D-6E8A-4147-A177-3AD203B41FA5}">
                      <a16:colId xmlns:a16="http://schemas.microsoft.com/office/drawing/2014/main" val="2226225783"/>
                    </a:ext>
                  </a:extLst>
                </a:gridCol>
              </a:tblGrid>
              <a:tr h="443118">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5 Blade Sensitive Refills 16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3 Ultra Sensitive Refills 20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9297">
                <a:tc>
                  <a:txBody>
                    <a:bodyPr/>
                    <a:lstStyle/>
                    <a:p>
                      <a:pPr algn="l">
                        <a:defRPr>
                          <a:latin typeface="Nexa Book"/>
                        </a:defRPr>
                      </a:pPr>
                      <a:r>
                        <a:rPr sz="700" b="0"/>
                        <a:t>Gillette Proglide Plus Refills 16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9297">
                <a:tc>
                  <a:txBody>
                    <a:bodyPr/>
                    <a:lstStyle/>
                    <a:p>
                      <a:pPr algn="l">
                        <a:defRPr>
                          <a:latin typeface="Nexa Book"/>
                        </a:defRPr>
                      </a:pPr>
                      <a:r>
                        <a:rPr sz="700" b="0"/>
                        <a:t>Gillette Mach 3 Advanced Refills 20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9297">
                <a:tc>
                  <a:txBody>
                    <a:bodyPr/>
                    <a:lstStyle/>
                    <a:p>
                      <a:pPr algn="l">
                        <a:defRPr>
                          <a:latin typeface="Nexa Book"/>
                        </a:defRPr>
                      </a:pPr>
                      <a:r>
                        <a:rPr sz="700" b="0"/>
                        <a:t>Schick Xtreme 3 Sensitive Disposable Razors 2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9297">
                <a:tc>
                  <a:txBody>
                    <a:bodyPr/>
                    <a:lstStyle/>
                    <a:p>
                      <a:pPr algn="l">
                        <a:defRPr>
                          <a:latin typeface="Nexa Book"/>
                        </a:defRPr>
                      </a:pPr>
                      <a:r>
                        <a:rPr sz="700" b="0"/>
                        <a:t>Schick Xtreme 3 Sensitive Disposable Razors 3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9297">
                <a:tc>
                  <a:txBody>
                    <a:bodyPr/>
                    <a:lstStyle/>
                    <a:p>
                      <a:pPr algn="l">
                        <a:defRPr>
                          <a:latin typeface="Nexa Book"/>
                        </a:defRPr>
                      </a:pPr>
                      <a:r>
                        <a:rPr sz="700" b="0"/>
                        <a:t>Schick Xtreme 5 Disposable Razors 9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9297">
                <a:tc>
                  <a:txBody>
                    <a:bodyPr/>
                    <a:lstStyle/>
                    <a:p>
                      <a:pPr algn="l">
                        <a:defRPr>
                          <a:latin typeface="Nexa Book"/>
                        </a:defRPr>
                      </a:pPr>
                      <a:r>
                        <a:rPr sz="700" b="0"/>
                        <a:t>Kirkland Disposable Razors 20 pack </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9297">
                <a:tc>
                  <a:txBody>
                    <a:bodyPr/>
                    <a:lstStyle/>
                    <a:p>
                      <a:pPr algn="l">
                        <a:defRPr>
                          <a:latin typeface="Nexa Book"/>
                        </a:defRPr>
                      </a:pPr>
                      <a:r>
                        <a:rPr sz="700" b="0"/>
                        <a:t>Schick Xtreme 2 Sensitive Disposable Razors 48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9297">
                <a:tc>
                  <a:txBody>
                    <a:bodyPr/>
                    <a:lstStyle/>
                    <a:p>
                      <a:pPr algn="l">
                        <a:defRPr>
                          <a:latin typeface="Nexa Book"/>
                        </a:defRPr>
                      </a:pPr>
                      <a:r>
                        <a:rPr sz="700" b="0"/>
                        <a:t>Schick Xtreme 2 Sensitive Disposable Razors 6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9297">
                <a:tc>
                  <a:txBody>
                    <a:bodyPr/>
                    <a:lstStyle/>
                    <a:p>
                      <a:pPr algn="l">
                        <a:defRPr>
                          <a:latin typeface="Nexa Book"/>
                        </a:defRPr>
                      </a:pPr>
                      <a:r>
                        <a:rPr sz="700" b="0"/>
                        <a:t>Gillette Sensor 2 Plus Disposable Razors 52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9297">
                <a:tc>
                  <a:txBody>
                    <a:bodyPr/>
                    <a:lstStyle/>
                    <a:p>
                      <a:pPr algn="l">
                        <a:defRPr>
                          <a:latin typeface="Nexa Book"/>
                        </a:defRPr>
                      </a:pPr>
                      <a:r>
                        <a:rPr sz="700" b="0"/>
                        <a:t>Gillette Sensor 3 Sensitive Disposable Razors 2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9297">
                <a:tc>
                  <a:txBody>
                    <a:bodyPr/>
                    <a:lstStyle/>
                    <a:p>
                      <a:pPr algn="l">
                        <a:defRPr>
                          <a:latin typeface="Nexa Book"/>
                        </a:defRPr>
                      </a:pPr>
                      <a:r>
                        <a:rPr sz="700" b="0"/>
                        <a:t>Bic Flex 5 Disposable Razors 9 Pack </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0D92A2F-3243-DCF3-9E28-20A0E8E40970}"/>
              </a:ext>
            </a:extLst>
          </p:cNvPr>
          <p:cNvGraphicFramePr>
            <a:graphicFrameLocks/>
          </p:cNvGraphicFramePr>
          <p:nvPr/>
        </p:nvGraphicFramePr>
        <p:xfrm>
          <a:off x="2991173" y="1569997"/>
          <a:ext cx="190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EEA050D7-FD2F-CECE-AD98-11A7C9D6A55E}"/>
              </a:ext>
            </a:extLst>
          </p:cNvPr>
          <p:cNvGraphicFramePr>
            <a:graphicFrameLocks/>
          </p:cNvGraphicFramePr>
          <p:nvPr/>
        </p:nvGraphicFramePr>
        <p:xfrm>
          <a:off x="5188907" y="1569997"/>
          <a:ext cx="1908000" cy="31680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6327373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4AE567-B4FC-EC02-D2B5-E26D6A6EA190}"/>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2E2ABB9-B276-44AC-9943-48B680847C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DAD1265B-D54E-293C-7153-8B5EC16AC8EA}"/>
              </a:ext>
            </a:extLst>
          </p:cNvPr>
          <p:cNvSpPr>
            <a:spLocks noGrp="1"/>
          </p:cNvSpPr>
          <p:nvPr>
            <p:ph type="body" sz="quarter" idx="18"/>
          </p:nvPr>
        </p:nvSpPr>
        <p:spPr/>
        <p:txBody>
          <a:bodyPr/>
          <a:lstStyle/>
          <a:p>
            <a:r>
              <a:t>Summary | Innovations | Schick Dispo</a:t>
            </a:r>
          </a:p>
        </p:txBody>
      </p:sp>
      <p:sp>
        <p:nvSpPr>
          <p:cNvPr id="2" name="Title 1">
            <a:extLst>
              <a:ext uri="{FF2B5EF4-FFF2-40B4-BE49-F238E27FC236}">
                <a16:creationId xmlns:a16="http://schemas.microsoft.com/office/drawing/2014/main" id="{649CBEF6-C044-7D98-5617-5376F3896BA3}"/>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3EC7119A-896F-7571-E52D-A380A4EB5AD0}"/>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293F1789-5690-33A2-32D9-B55E54B01EA5}"/>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13</a:t>
            </a:fld>
            <a:endParaRPr lang="en-US"/>
          </a:p>
        </p:txBody>
      </p:sp>
      <p:graphicFrame>
        <p:nvGraphicFramePr>
          <p:cNvPr id="7" name="Table 6">
            <a:extLst>
              <a:ext uri="{FF2B5EF4-FFF2-40B4-BE49-F238E27FC236}">
                <a16:creationId xmlns:a16="http://schemas.microsoft.com/office/drawing/2014/main" id="{BD7F9D2A-30F6-EBB3-24A0-CB70452F59F2}"/>
              </a:ext>
            </a:extLst>
          </p:cNvPr>
          <p:cNvGraphicFramePr>
            <a:graphicFrameLocks noGrp="1"/>
          </p:cNvGraphicFramePr>
          <p:nvPr/>
        </p:nvGraphicFramePr>
        <p:xfrm>
          <a:off x="503238" y="1049315"/>
          <a:ext cx="8243580" cy="373052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696912">
                <a:tc>
                  <a:txBody>
                    <a:bodyPr/>
                    <a:lstStyle/>
                    <a:p>
                      <a:pPr algn="ctr">
                        <a:defRPr sz="800">
                          <a:latin typeface="Nexa Book"/>
                        </a:defRPr>
                      </a:pPr>
                      <a:r>
                        <a:rPr sz="700"/>
                        <a:t>Schick Xtreme 3 Sensitive Disposable Razors 20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9.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07879087"/>
                  </a:ext>
                </a:extLst>
              </a:tr>
              <a:tr h="696912">
                <a:tc>
                  <a:txBody>
                    <a:bodyPr/>
                    <a:lstStyle/>
                    <a:p>
                      <a:pPr algn="ctr">
                        <a:defRPr sz="800">
                          <a:latin typeface="Nexa Book"/>
                        </a:defRPr>
                      </a:pPr>
                      <a:r>
                        <a:rPr sz="700"/>
                        <a:t>Schick Xtreme 3 Sensitive Disposable Razors 30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6.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696912">
                <a:tc>
                  <a:txBody>
                    <a:bodyPr/>
                    <a:lstStyle/>
                    <a:p>
                      <a:pPr algn="ctr">
                        <a:defRPr sz="800">
                          <a:latin typeface="Nexa Book"/>
                        </a:defRPr>
                      </a:pPr>
                      <a:r>
                        <a:rPr sz="700"/>
                        <a:t>Schick Xtreme 2 Sensitive Disposable Razors 48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72.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696912">
                <a:tc>
                  <a:txBody>
                    <a:bodyPr/>
                    <a:lstStyle/>
                    <a:p>
                      <a:pPr algn="ctr">
                        <a:defRPr sz="800">
                          <a:latin typeface="Nexa Book"/>
                        </a:defRPr>
                      </a:pPr>
                      <a:r>
                        <a:rPr sz="700"/>
                        <a:t>Schick Xtreme 2 Sensitive Disposable Razors 60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72.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696912">
                <a:tc>
                  <a:txBody>
                    <a:bodyPr/>
                    <a:lstStyle/>
                    <a:p>
                      <a:pPr algn="ctr">
                        <a:defRPr sz="800">
                          <a:latin typeface="Nexa Book"/>
                        </a:defRPr>
                      </a:pPr>
                      <a:r>
                        <a:rPr sz="700"/>
                        <a:t>Schick Xtreme 5 Disposable Razors 9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63.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DFA0A9F6-BC0E-AD7F-D908-ACE36569B982}"/>
              </a:ext>
            </a:extLst>
          </p:cNvPr>
          <p:cNvSpPr>
            <a:spLocks noGrp="1"/>
          </p:cNvSpPr>
          <p:nvPr>
            <p:ph type="body" sz="quarter" idx="17"/>
          </p:nvPr>
        </p:nvSpPr>
        <p:spPr>
          <a:xfrm>
            <a:off x="0" y="4734106"/>
            <a:ext cx="4572000" cy="222878"/>
          </a:xfrm>
        </p:spPr>
        <p:txBody>
          <a:bodyPr/>
          <a:lstStyle/>
          <a:p>
            <a:r>
              <a:t>DATA SOURCE: Consumer Test | July 2025</a:t>
            </a:r>
          </a:p>
        </p:txBody>
      </p:sp>
    </p:spTree>
    <p:extLst>
      <p:ext uri="{BB962C8B-B14F-4D97-AF65-F5344CB8AC3E}">
        <p14:creationId xmlns:p14="http://schemas.microsoft.com/office/powerpoint/2010/main" val="26051303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6EF265-E8A9-ACCA-7544-C847E7A1EB1D}"/>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E8424FF-895C-F9E7-8C47-C76B529E355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5EE7F90C-9F97-5594-A911-ECEA7C730AEC}"/>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E77AD90-53F4-A385-410C-DFFD56666E60}"/>
              </a:ext>
            </a:extLst>
          </p:cNvPr>
          <p:cNvGraphicFramePr>
            <a:graphicFrameLocks/>
          </p:cNvGraphicFramePr>
          <p:nvPr/>
        </p:nvGraphicFramePr>
        <p:xfrm>
          <a:off x="2613976" y="1216203"/>
          <a:ext cx="5670000" cy="648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92143408-5CB3-A788-6B61-A4A67D270832}"/>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9B24D5FF-71C5-8410-0588-61FABDBFAA07}"/>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6354413C-313F-33E7-F967-DBD8E5953CD1}"/>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10" name="Content Placeholder 9">
            <a:extLst>
              <a:ext uri="{FF2B5EF4-FFF2-40B4-BE49-F238E27FC236}">
                <a16:creationId xmlns:a16="http://schemas.microsoft.com/office/drawing/2014/main" id="{F092D724-669D-DE1C-70F2-D50B6446598F}"/>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Text Placeholder 4">
            <a:extLst>
              <a:ext uri="{FF2B5EF4-FFF2-40B4-BE49-F238E27FC236}">
                <a16:creationId xmlns:a16="http://schemas.microsoft.com/office/drawing/2014/main" id="{B88963F4-5451-068C-9C02-1DF731530EC4}"/>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Costco | Schick Dispo</a:t>
            </a:r>
          </a:p>
        </p:txBody>
      </p:sp>
      <p:sp>
        <p:nvSpPr>
          <p:cNvPr id="8" name="Title 7">
            <a:extLst>
              <a:ext uri="{FF2B5EF4-FFF2-40B4-BE49-F238E27FC236}">
                <a16:creationId xmlns:a16="http://schemas.microsoft.com/office/drawing/2014/main" id="{2CA9F53F-CC42-AC41-8133-4FAC19968736}"/>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D12997C8-70C0-E5FF-FB8C-53635EB3CBF3}"/>
              </a:ext>
            </a:extLst>
          </p:cNvPr>
          <p:cNvGraphicFramePr>
            <a:graphicFrameLocks/>
          </p:cNvGraphicFramePr>
          <p:nvPr/>
        </p:nvGraphicFramePr>
        <p:xfrm>
          <a:off x="2613976" y="3982633"/>
          <a:ext cx="5670000" cy="64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FFECC1B-F3AE-A102-5F94-B5A9C775A4F1}"/>
              </a:ext>
            </a:extLst>
          </p:cNvPr>
          <p:cNvGraphicFramePr>
            <a:graphicFrameLocks/>
          </p:cNvGraphicFramePr>
          <p:nvPr/>
        </p:nvGraphicFramePr>
        <p:xfrm>
          <a:off x="2613976" y="1907811"/>
          <a:ext cx="5670000" cy="64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C5E6566C-D77D-6B1F-00CA-3E0EEE79E331}"/>
              </a:ext>
            </a:extLst>
          </p:cNvPr>
          <p:cNvGraphicFramePr>
            <a:graphicFrameLocks/>
          </p:cNvGraphicFramePr>
          <p:nvPr/>
        </p:nvGraphicFramePr>
        <p:xfrm>
          <a:off x="2613976" y="2599419"/>
          <a:ext cx="5670000" cy="64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2">
            <a:extLst>
              <a:ext uri="{FF2B5EF4-FFF2-40B4-BE49-F238E27FC236}">
                <a16:creationId xmlns:a16="http://schemas.microsoft.com/office/drawing/2014/main" id="{0EA0F611-1FA1-4AC2-DCB5-7D377610C62F}"/>
              </a:ext>
            </a:extLst>
          </p:cNvPr>
          <p:cNvGraphicFramePr>
            <a:graphicFrameLocks/>
          </p:cNvGraphicFramePr>
          <p:nvPr/>
        </p:nvGraphicFramePr>
        <p:xfrm>
          <a:off x="2613976" y="3291027"/>
          <a:ext cx="5670000" cy="648000"/>
        </p:xfrm>
        <a:graphic>
          <a:graphicData uri="http://schemas.openxmlformats.org/drawingml/2006/chart">
            <c:chart xmlns:c="http://schemas.openxmlformats.org/drawingml/2006/chart" xmlns:r="http://schemas.openxmlformats.org/officeDocument/2006/relationships" r:id="rId9"/>
          </a:graphicData>
        </a:graphic>
      </p:graphicFrame>
      <p:sp>
        <p:nvSpPr>
          <p:cNvPr id="6" name="TB5">
            <a:extLst>
              <a:ext uri="{FF2B5EF4-FFF2-40B4-BE49-F238E27FC236}">
                <a16:creationId xmlns:a16="http://schemas.microsoft.com/office/drawing/2014/main" id="{445CC449-53D7-3660-8CC3-2CC168F68952}"/>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6191F0A8-9B9B-747F-C3F0-D4D438B63DC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2428A3D2-6FD2-5938-FBA3-C60031A72019}"/>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7" name="TextBox 6">
            <a:extLst>
              <a:ext uri="{FF2B5EF4-FFF2-40B4-BE49-F238E27FC236}">
                <a16:creationId xmlns:a16="http://schemas.microsoft.com/office/drawing/2014/main" id="{A3D55999-2ADD-E58C-F97E-323B29CA957A}"/>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40666979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95456B-F04F-CED6-524D-3943F8062BB2}"/>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B4FC6C9A-7234-29F5-6290-6BCEE0D3C72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2D18C4C5-8D05-E8FF-ECC8-9D3FDA147907}"/>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4410EA83-45E8-15C5-6951-77272BEA5C9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0205E024-C2C6-1BAD-2282-EC085D31C6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dirty="0"/>
          </a:p>
        </p:txBody>
      </p:sp>
      <p:sp>
        <p:nvSpPr>
          <p:cNvPr id="8" name="Text Placeholder 7">
            <a:extLst>
              <a:ext uri="{FF2B5EF4-FFF2-40B4-BE49-F238E27FC236}">
                <a16:creationId xmlns:a16="http://schemas.microsoft.com/office/drawing/2014/main" id="{318EBEFF-75D9-5F5E-E8A0-89FF64DC89F2}"/>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Content Placeholder 4">
            <a:extLst>
              <a:ext uri="{FF2B5EF4-FFF2-40B4-BE49-F238E27FC236}">
                <a16:creationId xmlns:a16="http://schemas.microsoft.com/office/drawing/2014/main" id="{A6829765-62AE-ADD3-9DB7-541C02842F54}"/>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Costco | Schick Dispo</a:t>
            </a:r>
          </a:p>
        </p:txBody>
      </p:sp>
      <p:sp>
        <p:nvSpPr>
          <p:cNvPr id="3" name="Title 2">
            <a:extLst>
              <a:ext uri="{FF2B5EF4-FFF2-40B4-BE49-F238E27FC236}">
                <a16:creationId xmlns:a16="http://schemas.microsoft.com/office/drawing/2014/main" id="{FD36FE88-E71B-7267-9A6B-7117DBE92643}"/>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1A343AAF-0F7B-EE07-FCE6-B07ABD82C065}"/>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EF654F9-3EEA-D79A-8EA6-AC62EA1F987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2810E138-0AD5-03BE-E6DE-D94767503F90}"/>
              </a:ext>
            </a:extLst>
          </p:cNvPr>
          <p:cNvGraphicFramePr>
            <a:graphicFrameLocks/>
          </p:cNvGraphicFramePr>
          <p:nvPr/>
        </p:nvGraphicFramePr>
        <p:xfrm>
          <a:off x="174228" y="3979225"/>
          <a:ext cx="8464427" cy="105918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402936">
                  <a:extLst>
                    <a:ext uri="{9D8B030D-6E8A-4147-A177-3AD203B41FA5}">
                      <a16:colId xmlns:a16="http://schemas.microsoft.com/office/drawing/2014/main" val="4292788590"/>
                    </a:ext>
                  </a:extLst>
                </a:gridCol>
                <a:gridCol w="1402936">
                  <a:extLst>
                    <a:ext uri="{9D8B030D-6E8A-4147-A177-3AD203B41FA5}">
                      <a16:colId xmlns:a16="http://schemas.microsoft.com/office/drawing/2014/main" val="401539003"/>
                    </a:ext>
                  </a:extLst>
                </a:gridCol>
                <a:gridCol w="1402936">
                  <a:extLst>
                    <a:ext uri="{9D8B030D-6E8A-4147-A177-3AD203B41FA5}">
                      <a16:colId xmlns:a16="http://schemas.microsoft.com/office/drawing/2014/main" val="138763722"/>
                    </a:ext>
                  </a:extLst>
                </a:gridCol>
                <a:gridCol w="1402936">
                  <a:extLst>
                    <a:ext uri="{9D8B030D-6E8A-4147-A177-3AD203B41FA5}">
                      <a16:colId xmlns:a16="http://schemas.microsoft.com/office/drawing/2014/main" val="2633844746"/>
                    </a:ext>
                  </a:extLst>
                </a:gridCol>
                <a:gridCol w="1402936">
                  <a:extLst>
                    <a:ext uri="{9D8B030D-6E8A-4147-A177-3AD203B41FA5}">
                      <a16:colId xmlns:a16="http://schemas.microsoft.com/office/drawing/2014/main" val="2595269352"/>
                    </a:ext>
                  </a:extLst>
                </a:gridCol>
              </a:tblGrid>
              <a:tr h="320040">
                <a:tc>
                  <a:txBody>
                    <a:bodyPr/>
                    <a:lstStyle/>
                    <a:p>
                      <a:pPr>
                        <a:defRPr>
                          <a:latin typeface="Nexa Bold"/>
                        </a:defRPr>
                      </a:pPr>
                      <a:r>
                        <a:rPr sz="800" b="0"/>
                        <a:t>Cannibalization within </a:t>
                      </a:r>
                    </a:p>
                    <a:p>
                      <a:pPr>
                        <a:defRPr>
                          <a:latin typeface="Nexa Bold"/>
                        </a:defRPr>
                      </a:pPr>
                      <a:r>
                        <a:rPr sz="800" b="0"/>
                        <a:t>Edgewell Personal Care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Personal Care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Personal Care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9357945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E2D520-9616-F93B-6FA4-5C41AA1D3278}"/>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8EFDC7F9-C6A7-5D1E-6781-B2F929EE950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533B0C29-CE52-EE2C-EA0D-4D64A3FA800A}"/>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4AC45AE-E929-5BB8-C035-2B93701279A4}"/>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19A1C17B-3E58-3152-12B9-827B9D036FB4}"/>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03B44318-D0B0-B48D-70AD-DA96D63B41F1}"/>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8" name="Text Placeholder 7">
            <a:extLst>
              <a:ext uri="{FF2B5EF4-FFF2-40B4-BE49-F238E27FC236}">
                <a16:creationId xmlns:a16="http://schemas.microsoft.com/office/drawing/2014/main" id="{62307593-7BE1-DF1E-BF3F-755A45925694}"/>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148E447D-5A27-C3B1-4C7B-59B6180B9A24}"/>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Costco | Schick Dispo</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8994B35D-316D-CB15-9018-DCFA67BEE6A3}"/>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EDE39F87-1F24-37E2-DAA0-F73241339A3C}"/>
              </a:ext>
            </a:extLst>
          </p:cNvPr>
          <p:cNvGraphicFramePr>
            <a:graphicFrameLocks noGrp="1"/>
          </p:cNvGraphicFramePr>
          <p:nvPr>
            <p:ph idx="4294967295"/>
          </p:nvPr>
        </p:nvGraphicFramePr>
        <p:xfrm>
          <a:off x="513149" y="1127125"/>
          <a:ext cx="8103586" cy="3775118"/>
        </p:xfrm>
        <a:graphic>
          <a:graphicData uri="http://schemas.openxmlformats.org/drawingml/2006/table">
            <a:tbl>
              <a:tblPr firstRow="1" bandRow="1">
                <a:tableStyleId>{5C22544A-7EE6-4342-B048-85BDC9FD1C3A}</a:tableStyleId>
              </a:tblPr>
              <a:tblGrid>
                <a:gridCol w="1367176">
                  <a:extLst>
                    <a:ext uri="{9D8B030D-6E8A-4147-A177-3AD203B41FA5}">
                      <a16:colId xmlns:a16="http://schemas.microsoft.com/office/drawing/2014/main" val="721526330"/>
                    </a:ext>
                  </a:extLst>
                </a:gridCol>
                <a:gridCol w="1347282">
                  <a:extLst>
                    <a:ext uri="{9D8B030D-6E8A-4147-A177-3AD203B41FA5}">
                      <a16:colId xmlns:a16="http://schemas.microsoft.com/office/drawing/2014/main" val="1048155142"/>
                    </a:ext>
                  </a:extLst>
                </a:gridCol>
                <a:gridCol w="1347282">
                  <a:extLst>
                    <a:ext uri="{9D8B030D-6E8A-4147-A177-3AD203B41FA5}">
                      <a16:colId xmlns:a16="http://schemas.microsoft.com/office/drawing/2014/main" val="2226225783"/>
                    </a:ext>
                  </a:extLst>
                </a:gridCol>
                <a:gridCol w="1347282">
                  <a:extLst>
                    <a:ext uri="{9D8B030D-6E8A-4147-A177-3AD203B41FA5}">
                      <a16:colId xmlns:a16="http://schemas.microsoft.com/office/drawing/2014/main" val="2541288816"/>
                    </a:ext>
                  </a:extLst>
                </a:gridCol>
                <a:gridCol w="1347282">
                  <a:extLst>
                    <a:ext uri="{9D8B030D-6E8A-4147-A177-3AD203B41FA5}">
                      <a16:colId xmlns:a16="http://schemas.microsoft.com/office/drawing/2014/main" val="1505432836"/>
                    </a:ext>
                  </a:extLst>
                </a:gridCol>
                <a:gridCol w="1347282">
                  <a:extLst>
                    <a:ext uri="{9D8B030D-6E8A-4147-A177-3AD203B41FA5}">
                      <a16:colId xmlns:a16="http://schemas.microsoft.com/office/drawing/2014/main" val="4255120039"/>
                    </a:ext>
                  </a:extLst>
                </a:gridCol>
              </a:tblGrid>
              <a:tr h="52614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Xtreme 3 Sensitive Disposable Razors 20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Xtreme 3 Sensitive Disposable Razors 30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Xtreme 2 Sensitive Disposable Razors 48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Xtreme 2 Sensitive Disposable Razors 60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Xtreme 5 Disposable Razors 9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1940">
                <a:tc>
                  <a:txBody>
                    <a:bodyPr/>
                    <a:lstStyle/>
                    <a:p>
                      <a:pPr algn="l">
                        <a:defRPr>
                          <a:latin typeface="Nexa Book"/>
                        </a:defRPr>
                      </a:pPr>
                      <a:r>
                        <a:rPr sz="700" b="0"/>
                        <a:t>Gillette Custom Plus 3 Sensitive Disposable Razors 30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1940">
                <a:tc>
                  <a:txBody>
                    <a:bodyPr/>
                    <a:lstStyle/>
                    <a:p>
                      <a:pPr algn="l">
                        <a:defRPr>
                          <a:latin typeface="Nexa Book"/>
                        </a:defRPr>
                      </a:pPr>
                      <a:r>
                        <a:rPr sz="700" b="0"/>
                        <a:t>None Razors</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1940">
                <a:tc>
                  <a:txBody>
                    <a:bodyPr/>
                    <a:lstStyle/>
                    <a:p>
                      <a:pPr algn="l">
                        <a:defRPr>
                          <a:latin typeface="Nexa Book"/>
                        </a:defRPr>
                      </a:pPr>
                      <a:r>
                        <a:rPr sz="700" b="0"/>
                        <a:t>Harry's Razor Set Chrome Edition 1 Handle + 13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1940">
                <a:tc>
                  <a:txBody>
                    <a:bodyPr/>
                    <a:lstStyle/>
                    <a:p>
                      <a:pPr algn="l">
                        <a:defRPr>
                          <a:latin typeface="Nexa Book"/>
                        </a:defRPr>
                      </a:pPr>
                      <a:r>
                        <a:rPr sz="700" b="0"/>
                        <a:t>Gillette Proglide Plus Refills 16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1940">
                <a:tc>
                  <a:txBody>
                    <a:bodyPr/>
                    <a:lstStyle/>
                    <a:p>
                      <a:pPr algn="l">
                        <a:defRPr>
                          <a:latin typeface="Nexa Book"/>
                        </a:defRPr>
                      </a:pPr>
                      <a:r>
                        <a:rPr sz="700" b="0"/>
                        <a:t>Schick Hydro 3 Ultra Sensitive 1 Handle + 20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1940">
                <a:tc>
                  <a:txBody>
                    <a:bodyPr/>
                    <a:lstStyle/>
                    <a:p>
                      <a:pPr algn="l">
                        <a:defRPr>
                          <a:latin typeface="Nexa Book"/>
                        </a:defRPr>
                      </a:pPr>
                      <a:r>
                        <a:rPr sz="700" b="0"/>
                        <a:t>Kirkland Disposable Razors 20 pack </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1940">
                <a:tc>
                  <a:txBody>
                    <a:bodyPr/>
                    <a:lstStyle/>
                    <a:p>
                      <a:pPr algn="l">
                        <a:defRPr>
                          <a:latin typeface="Nexa Book"/>
                        </a:defRPr>
                      </a:pPr>
                      <a:r>
                        <a:rPr sz="700" b="0"/>
                        <a:t>Kirkland Disposable Razors 30 pack </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1940">
                <a:tc>
                  <a:txBody>
                    <a:bodyPr/>
                    <a:lstStyle/>
                    <a:p>
                      <a:pPr algn="l">
                        <a:defRPr>
                          <a:latin typeface="Nexa Book"/>
                        </a:defRPr>
                      </a:pPr>
                      <a:r>
                        <a:rPr sz="700" b="0"/>
                        <a:t>Schick Hydro 5 Sensitive 1 Handle + 16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1940">
                <a:tc>
                  <a:txBody>
                    <a:bodyPr/>
                    <a:lstStyle/>
                    <a:p>
                      <a:pPr algn="l">
                        <a:defRPr>
                          <a:latin typeface="Nexa Book"/>
                        </a:defRPr>
                      </a:pPr>
                      <a:r>
                        <a:rPr sz="700" b="0"/>
                        <a:t>Schick Quattro Titanium 4 Blade Systems 1 Handle + 13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1940">
                <a:tc>
                  <a:txBody>
                    <a:bodyPr/>
                    <a:lstStyle/>
                    <a:p>
                      <a:pPr algn="l">
                        <a:defRPr>
                          <a:latin typeface="Nexa Book"/>
                        </a:defRPr>
                      </a:pPr>
                      <a:r>
                        <a:rPr sz="700" b="0"/>
                        <a:t>Schick Hydro 5 Sensitive 1 Handle + 20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1940">
                <a:tc>
                  <a:txBody>
                    <a:bodyPr/>
                    <a:lstStyle/>
                    <a:p>
                      <a:pPr algn="l">
                        <a:defRPr>
                          <a:latin typeface="Nexa Book"/>
                        </a:defRPr>
                      </a:pPr>
                      <a:r>
                        <a:rPr sz="700" b="0"/>
                        <a:t>Kirkland 5 blades 1 Handle + 13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71541864-79CF-6468-62BF-69168917C783}"/>
              </a:ext>
            </a:extLst>
          </p:cNvPr>
          <p:cNvGraphicFramePr>
            <a:graphicFrameLocks/>
          </p:cNvGraphicFramePr>
          <p:nvPr/>
        </p:nvGraphicFramePr>
        <p:xfrm>
          <a:off x="1902137" y="1650206"/>
          <a:ext cx="1044000" cy="3096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B7BE3913-8AB7-A6C5-0DC9-8FCD7BF32C93}"/>
              </a:ext>
            </a:extLst>
          </p:cNvPr>
          <p:cNvGraphicFramePr>
            <a:graphicFrameLocks/>
          </p:cNvGraphicFramePr>
          <p:nvPr/>
        </p:nvGraphicFramePr>
        <p:xfrm>
          <a:off x="3252376" y="1650206"/>
          <a:ext cx="1044000" cy="3096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CDE3F35A-CF7A-3826-9322-F5E502527243}"/>
              </a:ext>
            </a:extLst>
          </p:cNvPr>
          <p:cNvGraphicFramePr>
            <a:graphicFrameLocks/>
          </p:cNvGraphicFramePr>
          <p:nvPr/>
        </p:nvGraphicFramePr>
        <p:xfrm>
          <a:off x="4602615" y="1650206"/>
          <a:ext cx="1044000" cy="3096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6FBBC81F-69C0-CE3F-9EA8-89235E0354DF}"/>
              </a:ext>
            </a:extLst>
          </p:cNvPr>
          <p:cNvGraphicFramePr>
            <a:graphicFrameLocks/>
          </p:cNvGraphicFramePr>
          <p:nvPr/>
        </p:nvGraphicFramePr>
        <p:xfrm>
          <a:off x="5952854" y="1650206"/>
          <a:ext cx="1044000" cy="3096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 name="C3">
            <a:extLst>
              <a:ext uri="{FF2B5EF4-FFF2-40B4-BE49-F238E27FC236}">
                <a16:creationId xmlns:a16="http://schemas.microsoft.com/office/drawing/2014/main" id="{674BFCC8-DD71-C43A-BA49-1CDC395BD6E6}"/>
              </a:ext>
            </a:extLst>
          </p:cNvPr>
          <p:cNvGraphicFramePr>
            <a:graphicFrameLocks/>
          </p:cNvGraphicFramePr>
          <p:nvPr/>
        </p:nvGraphicFramePr>
        <p:xfrm>
          <a:off x="7303093" y="1650206"/>
          <a:ext cx="1044000" cy="30960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289270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F42F78-9DDE-54D5-FD98-108657F290E4}"/>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E8DBAF39-29F4-4F41-3087-0574CBB00B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2A8E7077-BDD4-4051-E45B-7CA9B2FE1F0B}"/>
              </a:ext>
            </a:extLst>
          </p:cNvPr>
          <p:cNvSpPr>
            <a:spLocks noGrp="1"/>
          </p:cNvSpPr>
          <p:nvPr>
            <p:ph type="body" sz="quarter" idx="18"/>
          </p:nvPr>
        </p:nvSpPr>
        <p:spPr/>
        <p:txBody>
          <a:bodyPr/>
          <a:lstStyle/>
          <a:p>
            <a:r>
              <a:t>Summary | Innovations | Schick Razor</a:t>
            </a:r>
          </a:p>
        </p:txBody>
      </p:sp>
      <p:sp>
        <p:nvSpPr>
          <p:cNvPr id="2" name="Title 1">
            <a:extLst>
              <a:ext uri="{FF2B5EF4-FFF2-40B4-BE49-F238E27FC236}">
                <a16:creationId xmlns:a16="http://schemas.microsoft.com/office/drawing/2014/main" id="{B59D5C8A-F8C2-EF7D-0B3E-4D3C4318BF6A}"/>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A5997953-7D4C-6851-DEE9-71B8666A9422}"/>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032A33C7-3B37-2A63-9E70-99953964A908}"/>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17</a:t>
            </a:fld>
            <a:endParaRPr lang="en-US"/>
          </a:p>
        </p:txBody>
      </p:sp>
      <p:graphicFrame>
        <p:nvGraphicFramePr>
          <p:cNvPr id="7" name="Table 6">
            <a:extLst>
              <a:ext uri="{FF2B5EF4-FFF2-40B4-BE49-F238E27FC236}">
                <a16:creationId xmlns:a16="http://schemas.microsoft.com/office/drawing/2014/main" id="{D7D6799F-C885-2419-E57C-2A4DA7C1F3CB}"/>
              </a:ext>
            </a:extLst>
          </p:cNvPr>
          <p:cNvGraphicFramePr>
            <a:graphicFrameLocks noGrp="1"/>
          </p:cNvGraphicFramePr>
          <p:nvPr/>
        </p:nvGraphicFramePr>
        <p:xfrm>
          <a:off x="503238" y="1049315"/>
          <a:ext cx="8243580" cy="373052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871140">
                <a:tc>
                  <a:txBody>
                    <a:bodyPr/>
                    <a:lstStyle/>
                    <a:p>
                      <a:pPr algn="ctr">
                        <a:defRPr sz="800">
                          <a:latin typeface="Nexa Book"/>
                        </a:defRPr>
                      </a:pPr>
                      <a:r>
                        <a:rPr sz="700"/>
                        <a:t>Schick Hydro 3 Ultra Sensitive 1 Handle + 20 Cartridge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7.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871140">
                <a:tc>
                  <a:txBody>
                    <a:bodyPr/>
                    <a:lstStyle/>
                    <a:p>
                      <a:pPr algn="ctr">
                        <a:defRPr sz="800">
                          <a:latin typeface="Nexa Book"/>
                        </a:defRPr>
                      </a:pPr>
                      <a:r>
                        <a:rPr sz="700"/>
                        <a:t>Schick Hydro 5 Sensitive 1 Handle + 16 Cartridge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6.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871140">
                <a:tc>
                  <a:txBody>
                    <a:bodyPr/>
                    <a:lstStyle/>
                    <a:p>
                      <a:pPr algn="ctr">
                        <a:defRPr sz="800">
                          <a:latin typeface="Nexa Book"/>
                        </a:defRPr>
                      </a:pPr>
                      <a:r>
                        <a:rPr sz="700"/>
                        <a:t>Schick Hydro 5 Sensitive 1 Handle + 20 Cartridge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7.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871140">
                <a:tc>
                  <a:txBody>
                    <a:bodyPr/>
                    <a:lstStyle/>
                    <a:p>
                      <a:pPr algn="ctr">
                        <a:defRPr sz="800">
                          <a:latin typeface="Nexa Book"/>
                        </a:defRPr>
                      </a:pPr>
                      <a:r>
                        <a:rPr sz="700"/>
                        <a:t>Schick Quattro Titanium 4 Blade Systems 1 Handle + 13 Cartridge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5.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F40323C2-25F1-A97C-9FB6-552931DF7D49}"/>
              </a:ext>
            </a:extLst>
          </p:cNvPr>
          <p:cNvSpPr>
            <a:spLocks noGrp="1"/>
          </p:cNvSpPr>
          <p:nvPr>
            <p:ph type="body" sz="quarter" idx="17"/>
          </p:nvPr>
        </p:nvSpPr>
        <p:spPr>
          <a:xfrm>
            <a:off x="0" y="4734106"/>
            <a:ext cx="4572000" cy="222878"/>
          </a:xfrm>
        </p:spPr>
        <p:txBody>
          <a:bodyPr/>
          <a:lstStyle/>
          <a:p>
            <a:r>
              <a:t>DATA SOURCE: Consumer Test | July 2025</a:t>
            </a:r>
          </a:p>
        </p:txBody>
      </p:sp>
    </p:spTree>
    <p:extLst>
      <p:ext uri="{BB962C8B-B14F-4D97-AF65-F5344CB8AC3E}">
        <p14:creationId xmlns:p14="http://schemas.microsoft.com/office/powerpoint/2010/main" val="9051966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4CDE49-D36C-87B3-D51D-0F5D5F0CFAA0}"/>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46A26B94-0B61-C6B9-0E75-D9DE8105D58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AB97A982-3BD4-C30D-560E-820FDBD53FFC}"/>
              </a:ext>
            </a:extLst>
          </p:cNvPr>
          <p:cNvGraphicFramePr>
            <a:graphicFrameLocks/>
          </p:cNvGraphicFramePr>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15BAE550-71D5-2691-314B-96C6747D6603}"/>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29528CFA-6CB0-ECE6-7FE8-EE266D9EDBEA}"/>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221AB155-0D89-7A72-0828-284BC89685A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10" name="Content Placeholder 9">
            <a:extLst>
              <a:ext uri="{FF2B5EF4-FFF2-40B4-BE49-F238E27FC236}">
                <a16:creationId xmlns:a16="http://schemas.microsoft.com/office/drawing/2014/main" id="{C887D225-6A6B-78D7-9557-6B1C7CE06C11}"/>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Text Placeholder 4">
            <a:extLst>
              <a:ext uri="{FF2B5EF4-FFF2-40B4-BE49-F238E27FC236}">
                <a16:creationId xmlns:a16="http://schemas.microsoft.com/office/drawing/2014/main" id="{D9E4A988-0B6D-B7C7-050B-32CCC140FD59}"/>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Costco | Schick Razor</a:t>
            </a:r>
          </a:p>
        </p:txBody>
      </p:sp>
      <p:sp>
        <p:nvSpPr>
          <p:cNvPr id="8" name="Title 7">
            <a:extLst>
              <a:ext uri="{FF2B5EF4-FFF2-40B4-BE49-F238E27FC236}">
                <a16:creationId xmlns:a16="http://schemas.microsoft.com/office/drawing/2014/main" id="{2EF13CC8-2A80-1F6A-ACB2-EE851AB5D404}"/>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FA9464E1-0458-F754-A184-8217316FD01F}"/>
              </a:ext>
            </a:extLst>
          </p:cNvPr>
          <p:cNvGraphicFramePr>
            <a:graphicFrameLocks/>
          </p:cNvGraphicFramePr>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2DD43D7A-023C-73A4-C234-B6571FD3B284}"/>
              </a:ext>
            </a:extLst>
          </p:cNvPr>
          <p:cNvGraphicFramePr>
            <a:graphicFrameLocks/>
          </p:cNvGraphicFramePr>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9E0D7DDE-8259-14BC-9FD4-9658E5FE5FF5}"/>
              </a:ext>
            </a:extLst>
          </p:cNvPr>
          <p:cNvGraphicFramePr>
            <a:graphicFrameLocks/>
          </p:cNvGraphicFramePr>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81CC4875-76CA-D2E6-BC65-8254382074B5}"/>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030DD5EC-EDF4-2D9B-7EFC-97FD72CA33F8}"/>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94F8EFF2-FC03-0120-8406-2CCE8ED1B7ED}"/>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7" name="TextBox 6">
            <a:extLst>
              <a:ext uri="{FF2B5EF4-FFF2-40B4-BE49-F238E27FC236}">
                <a16:creationId xmlns:a16="http://schemas.microsoft.com/office/drawing/2014/main" id="{5DCA5E6C-B10F-542C-9C6A-613CBC8F5EB4}"/>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14999304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908C2C-C7EA-D458-EF5B-A2E88198A2FD}"/>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815B216C-D802-1267-7393-A067E39AAEC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3C5C7082-1B81-CBD4-E5E3-D20EDB729465}"/>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666651A9-3BE6-E452-87FC-DF44AF2214D3}"/>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E72C67E-1D51-4554-DC75-DB20B31C2DB4}"/>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dirty="0"/>
          </a:p>
        </p:txBody>
      </p:sp>
      <p:sp>
        <p:nvSpPr>
          <p:cNvPr id="8" name="Text Placeholder 7">
            <a:extLst>
              <a:ext uri="{FF2B5EF4-FFF2-40B4-BE49-F238E27FC236}">
                <a16:creationId xmlns:a16="http://schemas.microsoft.com/office/drawing/2014/main" id="{DCF1B355-7381-F2D4-3E60-A67A378E5C4E}"/>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Content Placeholder 4">
            <a:extLst>
              <a:ext uri="{FF2B5EF4-FFF2-40B4-BE49-F238E27FC236}">
                <a16:creationId xmlns:a16="http://schemas.microsoft.com/office/drawing/2014/main" id="{FFF5CA8F-1885-CB91-0922-E7063FE7E1ED}"/>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Costco | Schick Razor</a:t>
            </a:r>
          </a:p>
        </p:txBody>
      </p:sp>
      <p:sp>
        <p:nvSpPr>
          <p:cNvPr id="3" name="Title 2">
            <a:extLst>
              <a:ext uri="{FF2B5EF4-FFF2-40B4-BE49-F238E27FC236}">
                <a16:creationId xmlns:a16="http://schemas.microsoft.com/office/drawing/2014/main" id="{E985ECED-4652-C35E-6099-8691C054B527}"/>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681B6B72-D482-6747-9A50-D0B99866E113}"/>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30CB1349-6CBD-B8FD-0051-45BD18599D9D}"/>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9574D270-32BB-6331-4885-4D7BDCA7B41E}"/>
              </a:ext>
            </a:extLst>
          </p:cNvPr>
          <p:cNvGraphicFramePr>
            <a:graphicFrameLocks/>
          </p:cNvGraphicFramePr>
          <p:nvPr/>
        </p:nvGraphicFramePr>
        <p:xfrm>
          <a:off x="174228" y="3979225"/>
          <a:ext cx="8464427" cy="105918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753670">
                  <a:extLst>
                    <a:ext uri="{9D8B030D-6E8A-4147-A177-3AD203B41FA5}">
                      <a16:colId xmlns:a16="http://schemas.microsoft.com/office/drawing/2014/main" val="4292788590"/>
                    </a:ext>
                  </a:extLst>
                </a:gridCol>
                <a:gridCol w="1753670">
                  <a:extLst>
                    <a:ext uri="{9D8B030D-6E8A-4147-A177-3AD203B41FA5}">
                      <a16:colId xmlns:a16="http://schemas.microsoft.com/office/drawing/2014/main" val="401539003"/>
                    </a:ext>
                  </a:extLst>
                </a:gridCol>
                <a:gridCol w="1753670">
                  <a:extLst>
                    <a:ext uri="{9D8B030D-6E8A-4147-A177-3AD203B41FA5}">
                      <a16:colId xmlns:a16="http://schemas.microsoft.com/office/drawing/2014/main" val="138763722"/>
                    </a:ext>
                  </a:extLst>
                </a:gridCol>
                <a:gridCol w="1753670">
                  <a:extLst>
                    <a:ext uri="{9D8B030D-6E8A-4147-A177-3AD203B41FA5}">
                      <a16:colId xmlns:a16="http://schemas.microsoft.com/office/drawing/2014/main" val="2633844746"/>
                    </a:ext>
                  </a:extLst>
                </a:gridCol>
              </a:tblGrid>
              <a:tr h="320040">
                <a:tc>
                  <a:txBody>
                    <a:bodyPr/>
                    <a:lstStyle/>
                    <a:p>
                      <a:pPr>
                        <a:defRPr>
                          <a:latin typeface="Nexa Bold"/>
                        </a:defRPr>
                      </a:pPr>
                      <a:r>
                        <a:rPr sz="800" b="0"/>
                        <a:t>Cannibalization within </a:t>
                      </a:r>
                    </a:p>
                    <a:p>
                      <a:pPr>
                        <a:defRPr>
                          <a:latin typeface="Nexa Bold"/>
                        </a:defRPr>
                      </a:pPr>
                      <a:r>
                        <a:rPr sz="800" b="0"/>
                        <a:t>Edgewell Personal Care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Personal Care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Personal Care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743081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0817FF-BDA1-C4C4-B7D8-0B0A183E6B70}"/>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83F64D5-B3E7-0189-93C6-6CB08492485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D71F61A1-D46B-60DE-CDA2-6DA9FA69F59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0CBFE7E8-547D-29E7-849E-F89175FFE7B7}"/>
              </a:ext>
            </a:extLst>
          </p:cNvPr>
          <p:cNvGraphicFramePr>
            <a:graphicFrameLocks/>
          </p:cNvGraphicFramePr>
          <p:nvPr/>
        </p:nvGraphicFramePr>
        <p:xfrm>
          <a:off x="2613976" y="1131888"/>
          <a:ext cx="5670000" cy="17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FA6F6A5B-661F-8201-823B-4635BA022F0C}"/>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39EEB0AF-8F68-5556-89D4-00082FA475E7}"/>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CE8FF4D9-FCFF-EA1B-0698-A9BCD452E85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10" name="Content Placeholder 9">
            <a:extLst>
              <a:ext uri="{FF2B5EF4-FFF2-40B4-BE49-F238E27FC236}">
                <a16:creationId xmlns:a16="http://schemas.microsoft.com/office/drawing/2014/main" id="{AFD2AB31-0CAC-30D1-48B7-9784418CCFDF}"/>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Text Placeholder 4">
            <a:extLst>
              <a:ext uri="{FF2B5EF4-FFF2-40B4-BE49-F238E27FC236}">
                <a16:creationId xmlns:a16="http://schemas.microsoft.com/office/drawing/2014/main" id="{FF3EFBA6-CC54-2DD6-6A9B-DB6DFBA7C742}"/>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Costco | Kirkland Dispo</a:t>
            </a:r>
          </a:p>
        </p:txBody>
      </p:sp>
      <p:sp>
        <p:nvSpPr>
          <p:cNvPr id="8" name="Title 7">
            <a:extLst>
              <a:ext uri="{FF2B5EF4-FFF2-40B4-BE49-F238E27FC236}">
                <a16:creationId xmlns:a16="http://schemas.microsoft.com/office/drawing/2014/main" id="{1AB85A04-416A-1937-27E7-A51D640EFC4D}"/>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0D8B89DE-E0B2-D7F7-2C82-84696C7E6AB6}"/>
              </a:ext>
            </a:extLst>
          </p:cNvPr>
          <p:cNvGraphicFramePr>
            <a:graphicFrameLocks/>
          </p:cNvGraphicFramePr>
          <p:nvPr/>
        </p:nvGraphicFramePr>
        <p:xfrm>
          <a:off x="2613976" y="2964741"/>
          <a:ext cx="5670000" cy="1764000"/>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53FCE46E-F0D7-E026-A871-9C72D4124109}"/>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0BF5DAB8-CCB5-FEEE-2973-F653F7A22EB4}"/>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CDC9C02C-A085-D882-DDC4-CB07FB78A957}"/>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15" name="TextBox 14">
            <a:extLst>
              <a:ext uri="{FF2B5EF4-FFF2-40B4-BE49-F238E27FC236}">
                <a16:creationId xmlns:a16="http://schemas.microsoft.com/office/drawing/2014/main" id="{0268A6C6-174F-4FA6-F4C5-2D1FECB1ECEA}"/>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3742250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A124A7-BBE7-4E9A-F277-2DB32FA43DE6}"/>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AA056F6-ADE4-972F-5A63-F305DBC49AA3}"/>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65073E9-44E6-7668-65CE-F9809D1A6E3F}"/>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5DC8C5FF-1BC0-0486-71CD-6FEA87AEBFA3}"/>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CE33B1CB-D05D-FD5B-CD79-CAD87770EC7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8" name="Text Placeholder 7">
            <a:extLst>
              <a:ext uri="{FF2B5EF4-FFF2-40B4-BE49-F238E27FC236}">
                <a16:creationId xmlns:a16="http://schemas.microsoft.com/office/drawing/2014/main" id="{0607E657-8696-9CF9-52B6-ED696D66187D}"/>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DC99E4F3-A9D7-F980-E424-D8E0DE5C14BF}"/>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Costco | Schick Razor</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67074170-055D-88B6-F68A-96D2D6200C58}"/>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0BE51954-A343-92C6-E105-B1D9CFB22C84}"/>
              </a:ext>
            </a:extLst>
          </p:cNvPr>
          <p:cNvGraphicFramePr>
            <a:graphicFrameLocks noGrp="1"/>
          </p:cNvGraphicFramePr>
          <p:nvPr>
            <p:ph idx="4294967295"/>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3 Ultra Sensitive 1 Handle + 20 Cartridges</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5 Sensitive 1 Handle + 16 Cartridges</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5 Sensitive 1 Handle + 20 Cartridges</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Quattro Titanium 4 Blade Systems 1 Handle + 13 Cartridges</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Gillette Custom Plus 3 Sensitive Disposable Razors 30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Harry's Razor Set Chrome Edition 1 Handle + 13 Cartridges</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None Razor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Gillette Proglide Plus Refills 16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Schick Xtreme 2 Sensitive Disposable Razors 6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Schick Xtreme 3 Sensitive Disposable Razors 2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Schick Xtreme 2 Sensitive Disposable Razors 48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Schick Xtreme 3 Sensitive Disposable Razors 3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Gillette Sensor 2 Plus Disposable Razors 52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Gillette Sensor 3 Sensitive Disposable Razors 2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Bic Flex 5 Disposable Razors 9 Pack </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27C7904B-DE9C-1348-FAD9-AFC8EF1D7E03}"/>
              </a:ext>
            </a:extLst>
          </p:cNvPr>
          <p:cNvGraphicFramePr>
            <a:graphicFrameLocks/>
          </p:cNvGraphicFramePr>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4A8F08C6-0DEF-68F6-632D-686705BA14F2}"/>
              </a:ext>
            </a:extLst>
          </p:cNvPr>
          <p:cNvGraphicFramePr>
            <a:graphicFrameLocks/>
          </p:cNvGraphicFramePr>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EC1B7AC5-4ED4-5B74-146B-50318700B82F}"/>
              </a:ext>
            </a:extLst>
          </p:cNvPr>
          <p:cNvGraphicFramePr>
            <a:graphicFrameLocks/>
          </p:cNvGraphicFramePr>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3B3917CC-1502-52F1-E352-98E61F44F764}"/>
              </a:ext>
            </a:extLst>
          </p:cNvPr>
          <p:cNvGraphicFramePr>
            <a:graphicFrameLocks/>
          </p:cNvGraphicFramePr>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7115138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70997D-DCB3-A82C-2EEA-B88D84356E0F}"/>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CAEDE06-7D49-DAE8-0501-EBE13BFE6AE5}"/>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28124500-C7BE-D49B-B8BD-64E645ECBED1}"/>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5ED41098-1A9A-C188-E58B-2B46D6D46271}"/>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9D07BBA9-B16A-6F35-9D07-32090F1964A1}"/>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dirty="0"/>
          </a:p>
        </p:txBody>
      </p:sp>
      <p:sp>
        <p:nvSpPr>
          <p:cNvPr id="8" name="Text Placeholder 7">
            <a:extLst>
              <a:ext uri="{FF2B5EF4-FFF2-40B4-BE49-F238E27FC236}">
                <a16:creationId xmlns:a16="http://schemas.microsoft.com/office/drawing/2014/main" id="{6A992505-707D-CDF5-D136-7499F0C4A5F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Content Placeholder 4">
            <a:extLst>
              <a:ext uri="{FF2B5EF4-FFF2-40B4-BE49-F238E27FC236}">
                <a16:creationId xmlns:a16="http://schemas.microsoft.com/office/drawing/2014/main" id="{4EF0245A-586E-CFF0-4A8B-BD0304273E90}"/>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Costco | Kirkland Dispo</a:t>
            </a:r>
          </a:p>
        </p:txBody>
      </p:sp>
      <p:sp>
        <p:nvSpPr>
          <p:cNvPr id="3" name="Title 2">
            <a:extLst>
              <a:ext uri="{FF2B5EF4-FFF2-40B4-BE49-F238E27FC236}">
                <a16:creationId xmlns:a16="http://schemas.microsoft.com/office/drawing/2014/main" id="{2160D412-FAC8-7848-A8C8-3979B0D7F445}"/>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2004B5A6-17F4-6AB6-C941-1809E63EEA0E}"/>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90CB3E47-F326-A341-C5B9-AB901910B7E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DFF77391-CEFC-CE9F-488A-0446CC96FEED}"/>
              </a:ext>
            </a:extLst>
          </p:cNvPr>
          <p:cNvGraphicFramePr>
            <a:graphicFrameLocks/>
          </p:cNvGraphicFramePr>
          <p:nvPr/>
        </p:nvGraphicFramePr>
        <p:xfrm>
          <a:off x="174228" y="3979225"/>
          <a:ext cx="8464425" cy="105918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3507339">
                  <a:extLst>
                    <a:ext uri="{9D8B030D-6E8A-4147-A177-3AD203B41FA5}">
                      <a16:colId xmlns:a16="http://schemas.microsoft.com/office/drawing/2014/main" val="4292788590"/>
                    </a:ext>
                  </a:extLst>
                </a:gridCol>
                <a:gridCol w="3507339">
                  <a:extLst>
                    <a:ext uri="{9D8B030D-6E8A-4147-A177-3AD203B41FA5}">
                      <a16:colId xmlns:a16="http://schemas.microsoft.com/office/drawing/2014/main" val="401539003"/>
                    </a:ext>
                  </a:extLst>
                </a:gridCol>
              </a:tblGrid>
              <a:tr h="320040">
                <a:tc>
                  <a:txBody>
                    <a:bodyPr/>
                    <a:lstStyle/>
                    <a:p>
                      <a:pPr>
                        <a:defRPr>
                          <a:latin typeface="Nexa Bold"/>
                        </a:defRPr>
                      </a:pPr>
                      <a:r>
                        <a:rPr sz="800" b="0"/>
                        <a:t>Cannibalization within </a:t>
                      </a:r>
                    </a:p>
                    <a:p>
                      <a:pPr>
                        <a:defRPr>
                          <a:latin typeface="Nexa Bold"/>
                        </a:defRPr>
                      </a:pPr>
                      <a:r>
                        <a:rPr sz="800" b="0"/>
                        <a:t>Edgewell Personal Care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Personal Care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Personal Care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7271182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346AF0-632F-5C20-721D-BE3B05ECEE98}"/>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F0624883-D1AB-F5A9-A55F-84C65E5F4A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E0CCE933-57F2-0D97-9476-30103A730DEE}"/>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C4D5EC93-5E94-3D6C-395D-811493CF2223}"/>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39CFBCB7-24F7-860B-F6C9-213B4C69EDB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8" name="Text Placeholder 7">
            <a:extLst>
              <a:ext uri="{FF2B5EF4-FFF2-40B4-BE49-F238E27FC236}">
                <a16:creationId xmlns:a16="http://schemas.microsoft.com/office/drawing/2014/main" id="{38EC4846-B102-6D96-CE89-94B1C0FB493E}"/>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68B1C50E-8FA2-4EC1-3EAE-4FC5925961AD}"/>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Costco | Kirkland Dispo</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F210C287-2773-C04B-D01E-0372592BE8E5}"/>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2529609B-0DC3-2FD7-FB94-B882DDF84CD3}"/>
              </a:ext>
            </a:extLst>
          </p:cNvPr>
          <p:cNvGraphicFramePr>
            <a:graphicFrameLocks noGrp="1"/>
          </p:cNvGraphicFramePr>
          <p:nvPr>
            <p:ph idx="4294967295"/>
          </p:nvPr>
        </p:nvGraphicFramePr>
        <p:xfrm>
          <a:off x="520200" y="1122363"/>
          <a:ext cx="6845570" cy="3625385"/>
        </p:xfrm>
        <a:graphic>
          <a:graphicData uri="http://schemas.openxmlformats.org/drawingml/2006/table">
            <a:tbl>
              <a:tblPr firstRow="1" bandRow="1">
                <a:tableStyleId>{5C22544A-7EE6-4342-B048-85BDC9FD1C3A}</a:tableStyleId>
              </a:tblPr>
              <a:tblGrid>
                <a:gridCol w="2462624">
                  <a:extLst>
                    <a:ext uri="{9D8B030D-6E8A-4147-A177-3AD203B41FA5}">
                      <a16:colId xmlns:a16="http://schemas.microsoft.com/office/drawing/2014/main" val="721526330"/>
                    </a:ext>
                  </a:extLst>
                </a:gridCol>
                <a:gridCol w="2191473">
                  <a:extLst>
                    <a:ext uri="{9D8B030D-6E8A-4147-A177-3AD203B41FA5}">
                      <a16:colId xmlns:a16="http://schemas.microsoft.com/office/drawing/2014/main" val="1048155142"/>
                    </a:ext>
                  </a:extLst>
                </a:gridCol>
                <a:gridCol w="2191473">
                  <a:extLst>
                    <a:ext uri="{9D8B030D-6E8A-4147-A177-3AD203B41FA5}">
                      <a16:colId xmlns:a16="http://schemas.microsoft.com/office/drawing/2014/main" val="2226225783"/>
                    </a:ext>
                  </a:extLst>
                </a:gridCol>
              </a:tblGrid>
              <a:tr h="443118">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Kirkland Disposable Razors 20 pack </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Kirkland Disposable Razors 30 pack </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9297">
                <a:tc>
                  <a:txBody>
                    <a:bodyPr/>
                    <a:lstStyle/>
                    <a:p>
                      <a:pPr algn="l">
                        <a:defRPr>
                          <a:latin typeface="Nexa Book"/>
                        </a:defRPr>
                      </a:pPr>
                      <a:r>
                        <a:rPr sz="700" b="0"/>
                        <a:t>Gillette Custom Plus 3 Sensitive Disposable Razors 30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9297">
                <a:tc>
                  <a:txBody>
                    <a:bodyPr/>
                    <a:lstStyle/>
                    <a:p>
                      <a:pPr algn="l">
                        <a:defRPr>
                          <a:latin typeface="Nexa Book"/>
                        </a:defRPr>
                      </a:pPr>
                      <a:r>
                        <a:rPr sz="700" b="0"/>
                        <a:t>None Razors</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9297">
                <a:tc>
                  <a:txBody>
                    <a:bodyPr/>
                    <a:lstStyle/>
                    <a:p>
                      <a:pPr algn="l">
                        <a:defRPr>
                          <a:latin typeface="Nexa Book"/>
                        </a:defRPr>
                      </a:pPr>
                      <a:r>
                        <a:rPr sz="700" b="0"/>
                        <a:t>Harry's Razor Set Chrome Edition 1 Handle + 13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9297">
                <a:tc>
                  <a:txBody>
                    <a:bodyPr/>
                    <a:lstStyle/>
                    <a:p>
                      <a:pPr algn="l">
                        <a:defRPr>
                          <a:latin typeface="Nexa Book"/>
                        </a:defRPr>
                      </a:pPr>
                      <a:r>
                        <a:rPr sz="700" b="0"/>
                        <a:t>Gillette Proglide Plus Refills 16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9297">
                <a:tc>
                  <a:txBody>
                    <a:bodyPr/>
                    <a:lstStyle/>
                    <a:p>
                      <a:pPr algn="l">
                        <a:defRPr>
                          <a:latin typeface="Nexa Book"/>
                        </a:defRPr>
                      </a:pPr>
                      <a:r>
                        <a:rPr sz="700" b="0"/>
                        <a:t>Schick Xtreme 2 Sensitive Disposable Razors 6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9297">
                <a:tc>
                  <a:txBody>
                    <a:bodyPr/>
                    <a:lstStyle/>
                    <a:p>
                      <a:pPr algn="l">
                        <a:defRPr>
                          <a:latin typeface="Nexa Book"/>
                        </a:defRPr>
                      </a:pPr>
                      <a:r>
                        <a:rPr sz="700" b="0"/>
                        <a:t>Schick Xtreme 3 Sensitive Disposable Razors 2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9297">
                <a:tc>
                  <a:txBody>
                    <a:bodyPr/>
                    <a:lstStyle/>
                    <a:p>
                      <a:pPr algn="l">
                        <a:defRPr>
                          <a:latin typeface="Nexa Book"/>
                        </a:defRPr>
                      </a:pPr>
                      <a:r>
                        <a:rPr sz="700" b="0"/>
                        <a:t>Schick Xtreme 2 Sensitive Disposable Razors 48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9297">
                <a:tc>
                  <a:txBody>
                    <a:bodyPr/>
                    <a:lstStyle/>
                    <a:p>
                      <a:pPr algn="l">
                        <a:defRPr>
                          <a:latin typeface="Nexa Book"/>
                        </a:defRPr>
                      </a:pPr>
                      <a:r>
                        <a:rPr sz="700" b="0"/>
                        <a:t>Schick Xtreme 3 Sensitive Disposable Razors 3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9297">
                <a:tc>
                  <a:txBody>
                    <a:bodyPr/>
                    <a:lstStyle/>
                    <a:p>
                      <a:pPr algn="l">
                        <a:defRPr>
                          <a:latin typeface="Nexa Book"/>
                        </a:defRPr>
                      </a:pPr>
                      <a:r>
                        <a:rPr sz="700" b="0"/>
                        <a:t>Schick Hydro 5 Sensitive 1 Handle + 16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9297">
                <a:tc>
                  <a:txBody>
                    <a:bodyPr/>
                    <a:lstStyle/>
                    <a:p>
                      <a:pPr algn="l">
                        <a:defRPr>
                          <a:latin typeface="Nexa Book"/>
                        </a:defRPr>
                      </a:pPr>
                      <a:r>
                        <a:rPr sz="700" b="0"/>
                        <a:t>Schick Hydro 5 Sensitive 1 Handle + 20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9297">
                <a:tc>
                  <a:txBody>
                    <a:bodyPr/>
                    <a:lstStyle/>
                    <a:p>
                      <a:pPr algn="l">
                        <a:defRPr>
                          <a:latin typeface="Nexa Book"/>
                        </a:defRPr>
                      </a:pPr>
                      <a:r>
                        <a:rPr sz="700" b="0"/>
                        <a:t>Bic Flex 5 Disposable Razors 9 Pack </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0B3D91B5-F467-55DA-FCC9-FB3C1329B6AE}"/>
              </a:ext>
            </a:extLst>
          </p:cNvPr>
          <p:cNvGraphicFramePr>
            <a:graphicFrameLocks/>
          </p:cNvGraphicFramePr>
          <p:nvPr/>
        </p:nvGraphicFramePr>
        <p:xfrm>
          <a:off x="2991173" y="1569997"/>
          <a:ext cx="190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5B6AB40A-593F-61EC-0BA8-88A335966D0C}"/>
              </a:ext>
            </a:extLst>
          </p:cNvPr>
          <p:cNvGraphicFramePr>
            <a:graphicFrameLocks/>
          </p:cNvGraphicFramePr>
          <p:nvPr/>
        </p:nvGraphicFramePr>
        <p:xfrm>
          <a:off x="5188907" y="1569997"/>
          <a:ext cx="1908000" cy="31680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0622857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7FA675-59DF-1568-2A00-A13D262D6269}"/>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3830C872-696D-732D-F9F7-43303309487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3AB3A63-F8A2-5DD6-D840-1A2C0A4689A0}"/>
              </a:ext>
            </a:extLst>
          </p:cNvPr>
          <p:cNvSpPr>
            <a:spLocks noGrp="1"/>
          </p:cNvSpPr>
          <p:nvPr>
            <p:ph type="body" sz="quarter" idx="18"/>
          </p:nvPr>
        </p:nvSpPr>
        <p:spPr/>
        <p:txBody>
          <a:bodyPr/>
          <a:lstStyle/>
          <a:p>
            <a:r>
              <a:t>Summary | Innovations | Kirkland Razor</a:t>
            </a:r>
          </a:p>
        </p:txBody>
      </p:sp>
      <p:sp>
        <p:nvSpPr>
          <p:cNvPr id="2" name="Title 1">
            <a:extLst>
              <a:ext uri="{FF2B5EF4-FFF2-40B4-BE49-F238E27FC236}">
                <a16:creationId xmlns:a16="http://schemas.microsoft.com/office/drawing/2014/main" id="{2526DDE8-568B-9106-32FF-1FD087B656AC}"/>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ADF0EE62-FF89-A2DA-AB32-D44816D182F8}"/>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C329EAD0-FDCC-54D2-1A00-30DCC3C252E5}"/>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5</a:t>
            </a:fld>
            <a:endParaRPr lang="en-US"/>
          </a:p>
        </p:txBody>
      </p:sp>
      <p:graphicFrame>
        <p:nvGraphicFramePr>
          <p:cNvPr id="7" name="Table 6">
            <a:extLst>
              <a:ext uri="{FF2B5EF4-FFF2-40B4-BE49-F238E27FC236}">
                <a16:creationId xmlns:a16="http://schemas.microsoft.com/office/drawing/2014/main" id="{D674663C-2042-D64F-AFD9-6041299E1E3D}"/>
              </a:ext>
            </a:extLst>
          </p:cNvPr>
          <p:cNvGraphicFramePr>
            <a:graphicFrameLocks noGrp="1"/>
          </p:cNvGraphicFramePr>
          <p:nvPr/>
        </p:nvGraphicFramePr>
        <p:xfrm>
          <a:off x="503238" y="1049315"/>
          <a:ext cx="8243580" cy="373052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3484560">
                <a:tc>
                  <a:txBody>
                    <a:bodyPr/>
                    <a:lstStyle/>
                    <a:p>
                      <a:pPr algn="ctr">
                        <a:defRPr sz="800">
                          <a:latin typeface="Nexa Book"/>
                        </a:defRPr>
                      </a:pPr>
                      <a:r>
                        <a:rPr sz="700"/>
                        <a:t>Kirkland 5 blades 1 Handle + 13 Cartridge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6.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AC175AF1-E7BF-E1F2-AF86-2306D34DF41A}"/>
              </a:ext>
            </a:extLst>
          </p:cNvPr>
          <p:cNvSpPr>
            <a:spLocks noGrp="1"/>
          </p:cNvSpPr>
          <p:nvPr>
            <p:ph type="body" sz="quarter" idx="17"/>
          </p:nvPr>
        </p:nvSpPr>
        <p:spPr>
          <a:xfrm>
            <a:off x="0" y="4734106"/>
            <a:ext cx="4572000" cy="222878"/>
          </a:xfrm>
        </p:spPr>
        <p:txBody>
          <a:bodyPr/>
          <a:lstStyle/>
          <a:p>
            <a:r>
              <a:t>DATA SOURCE: Consumer Test | July 2025</a:t>
            </a:r>
          </a:p>
        </p:txBody>
      </p:sp>
    </p:spTree>
    <p:extLst>
      <p:ext uri="{BB962C8B-B14F-4D97-AF65-F5344CB8AC3E}">
        <p14:creationId xmlns:p14="http://schemas.microsoft.com/office/powerpoint/2010/main" val="42828053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6D8D78-7439-C725-B0A3-ABA20CED9228}"/>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46A078F5-E4EE-B1E4-512E-0F5E6FFAEA5B}"/>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2C146CC-FF02-06F6-6135-899FA92357B5}"/>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9B31A9B8-78F3-1A74-C25C-68024B026EAD}"/>
              </a:ext>
            </a:extLst>
          </p:cNvPr>
          <p:cNvSpPr>
            <a:spLocks noGrp="1"/>
          </p:cNvSpPr>
          <p:nvPr>
            <p:ph type="ftr" sz="quarter" idx="15"/>
          </p:nvPr>
        </p:nvSpPr>
        <p:spPr>
          <a:xfrm>
            <a:off x="546969" y="4970700"/>
            <a:ext cx="6451742" cy="174151"/>
          </a:xfrm>
        </p:spPr>
        <p:txBody>
          <a:bodyPr/>
          <a:lstStyle/>
          <a:p>
            <a:pPr lvl="0"/>
            <a:endParaRPr lang="en-US" noProof="0" dirty="0">
              <a:solidFill>
                <a:srgbClr val="FF0000"/>
              </a:solidFill>
            </a:endParaRPr>
          </a:p>
        </p:txBody>
      </p:sp>
      <p:sp>
        <p:nvSpPr>
          <p:cNvPr id="3" name="Slide Number Placeholder 2">
            <a:extLst>
              <a:ext uri="{FF2B5EF4-FFF2-40B4-BE49-F238E27FC236}">
                <a16:creationId xmlns:a16="http://schemas.microsoft.com/office/drawing/2014/main" id="{0FC6BC41-771F-15F0-7699-9EC7B40CE85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10" name="Content Placeholder 9">
            <a:extLst>
              <a:ext uri="{FF2B5EF4-FFF2-40B4-BE49-F238E27FC236}">
                <a16:creationId xmlns:a16="http://schemas.microsoft.com/office/drawing/2014/main" id="{1980CC4D-11B7-AB9D-40EF-0DE064C06738}"/>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Text Placeholder 4">
            <a:extLst>
              <a:ext uri="{FF2B5EF4-FFF2-40B4-BE49-F238E27FC236}">
                <a16:creationId xmlns:a16="http://schemas.microsoft.com/office/drawing/2014/main" id="{AFB4CD0E-0B71-A167-4815-EA4B866B1823}"/>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Costco | Kirkland Razor</a:t>
            </a:r>
          </a:p>
        </p:txBody>
      </p:sp>
      <p:sp>
        <p:nvSpPr>
          <p:cNvPr id="8" name="Title 7">
            <a:extLst>
              <a:ext uri="{FF2B5EF4-FFF2-40B4-BE49-F238E27FC236}">
                <a16:creationId xmlns:a16="http://schemas.microsoft.com/office/drawing/2014/main" id="{3D4BA9DB-E77D-CFDE-758C-41E97502F998}"/>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FD0A648F-4E22-6651-2180-01C15CA02249}"/>
              </a:ext>
            </a:extLst>
          </p:cNvPr>
          <p:cNvGraphicFramePr>
            <a:graphicFrameLocks/>
          </p:cNvGraphicFramePr>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E7639C0D-73EC-361B-B8CB-CD2DC3D4C1C8}"/>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504D93AC-CA38-B042-470F-A9B7FAADFB8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2FD64678-578B-9476-B372-C0027DD5CC1D}"/>
              </a:ext>
            </a:extLst>
          </p:cNvPr>
          <p:cNvGraphicFramePr>
            <a:graphicFrameLocks noGrp="1"/>
          </p:cNvGraphicFramePr>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9" name="TextBox 8">
            <a:extLst>
              <a:ext uri="{FF2B5EF4-FFF2-40B4-BE49-F238E27FC236}">
                <a16:creationId xmlns:a16="http://schemas.microsoft.com/office/drawing/2014/main" id="{330FD9EA-F92B-9412-5E4A-8023D1BE556B}"/>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1166962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1F7507-9198-F34C-3655-29EE86E58C77}"/>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91F1CBDF-FFE6-3557-5BD6-FCFECFAFD428}"/>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A80E6BB1-559B-D852-22E4-A33DF7121DF1}"/>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B956022E-149E-E054-FD07-08FE3FBE7260}"/>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53AA25AD-7D37-0EB2-A654-5C44394ABF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dirty="0"/>
          </a:p>
        </p:txBody>
      </p:sp>
      <p:sp>
        <p:nvSpPr>
          <p:cNvPr id="8" name="Text Placeholder 7">
            <a:extLst>
              <a:ext uri="{FF2B5EF4-FFF2-40B4-BE49-F238E27FC236}">
                <a16:creationId xmlns:a16="http://schemas.microsoft.com/office/drawing/2014/main" id="{40702103-B5C0-1E2A-CC3C-C54F7F4023CD}"/>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Content Placeholder 4">
            <a:extLst>
              <a:ext uri="{FF2B5EF4-FFF2-40B4-BE49-F238E27FC236}">
                <a16:creationId xmlns:a16="http://schemas.microsoft.com/office/drawing/2014/main" id="{D2F102DE-C3DA-315E-7ED1-6147858BBA53}"/>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Costco | Kirkland Razor</a:t>
            </a:r>
          </a:p>
        </p:txBody>
      </p:sp>
      <p:sp>
        <p:nvSpPr>
          <p:cNvPr id="3" name="Title 2">
            <a:extLst>
              <a:ext uri="{FF2B5EF4-FFF2-40B4-BE49-F238E27FC236}">
                <a16:creationId xmlns:a16="http://schemas.microsoft.com/office/drawing/2014/main" id="{B3A5EF71-33CA-B421-6B11-5AC242D2465E}"/>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06B178EF-D96D-7DD5-BE99-8FA49FE95562}"/>
              </a:ext>
            </a:extLst>
          </p:cNvPr>
          <p:cNvGraphicFramePr>
            <a:graphicFrameLocks/>
          </p:cNvGraphicFramePr>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9FECD15F-FBA2-B5D6-0FE1-878281FCFA7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9F1640D1-F533-A38C-73DE-4BCB52055E25}"/>
              </a:ext>
            </a:extLst>
          </p:cNvPr>
          <p:cNvGraphicFramePr>
            <a:graphicFrameLocks/>
          </p:cNvGraphicFramePr>
          <p:nvPr/>
        </p:nvGraphicFramePr>
        <p:xfrm>
          <a:off x="174228" y="3979225"/>
          <a:ext cx="8464425" cy="105918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7014678">
                  <a:extLst>
                    <a:ext uri="{9D8B030D-6E8A-4147-A177-3AD203B41FA5}">
                      <a16:colId xmlns:a16="http://schemas.microsoft.com/office/drawing/2014/main" val="4292788590"/>
                    </a:ext>
                  </a:extLst>
                </a:gridCol>
              </a:tblGrid>
              <a:tr h="320040">
                <a:tc>
                  <a:txBody>
                    <a:bodyPr/>
                    <a:lstStyle/>
                    <a:p>
                      <a:pPr>
                        <a:defRPr>
                          <a:latin typeface="Nexa Bold"/>
                        </a:defRPr>
                      </a:pPr>
                      <a:r>
                        <a:rPr sz="800" b="0"/>
                        <a:t>Cannibalization within </a:t>
                      </a:r>
                    </a:p>
                    <a:p>
                      <a:pPr>
                        <a:defRPr>
                          <a:latin typeface="Nexa Bold"/>
                        </a:defRPr>
                      </a:pPr>
                      <a:r>
                        <a:rPr sz="800" b="0"/>
                        <a:t>Edgewell Personal Care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Personal Care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Personal Care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9323991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1B6992-C0DE-DF1B-BAF9-3CEFD43B714B}"/>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0493C045-8ED4-ED60-F550-EBEC012202B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C3E502C-34C6-474E-2F69-54E553E9BAA4}"/>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E5B59843-3C1F-9311-57DF-07FBFE6CD8BB}"/>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C438B3C-7C4B-F9D8-3458-D79A485E5ED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8" name="Text Placeholder 7">
            <a:extLst>
              <a:ext uri="{FF2B5EF4-FFF2-40B4-BE49-F238E27FC236}">
                <a16:creationId xmlns:a16="http://schemas.microsoft.com/office/drawing/2014/main" id="{5E962491-051F-A837-44E8-A095EE7EA554}"/>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FB411DC3-F444-77E8-8B8B-018BB713D240}"/>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Costco | Kirkland Razor</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133D3F15-EB58-5344-FC77-AC4021DA479F}"/>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FB42E350-0CE8-78C1-9C57-1EA703D4FC5D}"/>
              </a:ext>
            </a:extLst>
          </p:cNvPr>
          <p:cNvGraphicFramePr>
            <a:graphicFrameLocks noGrp="1"/>
          </p:cNvGraphicFramePr>
          <p:nvPr>
            <p:ph idx="4294967295"/>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Kirkland 5 blades 1 Handle + 13 Cartridges</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algn="l">
                        <a:defRPr>
                          <a:latin typeface="Nexa Book"/>
                        </a:defRPr>
                      </a:pPr>
                      <a:r>
                        <a:rPr sz="700" b="0"/>
                        <a:t>Gillette Custom Plus 3 Sensitive Disposable Razors 30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algn="l">
                        <a:defRPr>
                          <a:latin typeface="Nexa Book"/>
                        </a:defRPr>
                      </a:pPr>
                      <a:r>
                        <a:rPr sz="700" b="0"/>
                        <a:t>Harry's Razor Set Chrome Edition 1 Handle + 13 Cartridges</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algn="l">
                        <a:defRPr>
                          <a:latin typeface="Nexa Book"/>
                        </a:defRPr>
                      </a:pPr>
                      <a:r>
                        <a:rPr sz="700" b="0"/>
                        <a:t>None Razor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algn="l">
                        <a:defRPr>
                          <a:latin typeface="Nexa Book"/>
                        </a:defRPr>
                      </a:pPr>
                      <a:r>
                        <a:rPr sz="700" b="0"/>
                        <a:t>Gillette Proglide Plus Refills 16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algn="l">
                        <a:defRPr>
                          <a:latin typeface="Nexa Book"/>
                        </a:defRPr>
                      </a:pPr>
                      <a:r>
                        <a:rPr sz="700" b="0"/>
                        <a:t>Schick Xtreme 2 Sensitive Disposable Razors 6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algn="l">
                        <a:defRPr>
                          <a:latin typeface="Nexa Book"/>
                        </a:defRPr>
                      </a:pPr>
                      <a:r>
                        <a:rPr sz="700" b="0"/>
                        <a:t>Schick Xtreme 3 Sensitive Disposable Razors 2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algn="l">
                        <a:defRPr>
                          <a:latin typeface="Nexa Book"/>
                        </a:defRPr>
                      </a:pPr>
                      <a:r>
                        <a:rPr sz="700" b="0"/>
                        <a:t>Schick Xtreme 2 Sensitive Disposable Razors 48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algn="l">
                        <a:defRPr>
                          <a:latin typeface="Nexa Book"/>
                        </a:defRPr>
                      </a:pPr>
                      <a:r>
                        <a:rPr sz="700" b="0"/>
                        <a:t>Schick Xtreme 3 Sensitive Disposable Razors 3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algn="l">
                        <a:defRPr>
                          <a:latin typeface="Nexa Book"/>
                        </a:defRPr>
                      </a:pPr>
                      <a:r>
                        <a:rPr sz="700" b="0"/>
                        <a:t>Gillette Sensor 2 Plus Disposable Razors 52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algn="l">
                        <a:defRPr>
                          <a:latin typeface="Nexa Book"/>
                        </a:defRPr>
                      </a:pPr>
                      <a:r>
                        <a:rPr sz="700" b="0"/>
                        <a:t>Gillette Sensor 3 Sensitive Disposable Razors 2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algn="l">
                        <a:defRPr>
                          <a:latin typeface="Nexa Book"/>
                        </a:defRPr>
                      </a:pPr>
                      <a:r>
                        <a:rPr sz="700" b="0"/>
                        <a:t>Bic Flex 5 Disposable Razors 9 Pack </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FDA61E61-F885-1EE6-33A4-C2118C9595EE}"/>
              </a:ext>
            </a:extLst>
          </p:cNvPr>
          <p:cNvGraphicFramePr>
            <a:graphicFrameLocks/>
          </p:cNvGraphicFramePr>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557222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B739BD-FA42-A5AF-CAB7-6CDD71F67F8F}"/>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94AEA44A-9A63-CACB-2ABC-DDEC97C91A9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C81A00BE-56DD-D9E4-635A-086242D1F086}"/>
              </a:ext>
            </a:extLst>
          </p:cNvPr>
          <p:cNvSpPr>
            <a:spLocks noGrp="1"/>
          </p:cNvSpPr>
          <p:nvPr>
            <p:ph type="body" sz="quarter" idx="18"/>
          </p:nvPr>
        </p:nvSpPr>
        <p:spPr/>
        <p:txBody>
          <a:bodyPr/>
          <a:lstStyle/>
          <a:p>
            <a:r>
              <a:t>Summary | Innovations | Schick Blade</a:t>
            </a:r>
          </a:p>
        </p:txBody>
      </p:sp>
      <p:sp>
        <p:nvSpPr>
          <p:cNvPr id="2" name="Title 1">
            <a:extLst>
              <a:ext uri="{FF2B5EF4-FFF2-40B4-BE49-F238E27FC236}">
                <a16:creationId xmlns:a16="http://schemas.microsoft.com/office/drawing/2014/main" id="{0992CE01-322E-2AD6-A58C-10FD36BB540A}"/>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A6490FF2-1038-666B-497E-B44E32487EDE}"/>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DAA7AEE3-1792-BB03-1084-B77E6180E3CB}"/>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9</a:t>
            </a:fld>
            <a:endParaRPr lang="en-US"/>
          </a:p>
        </p:txBody>
      </p:sp>
      <p:graphicFrame>
        <p:nvGraphicFramePr>
          <p:cNvPr id="7" name="Table 6">
            <a:extLst>
              <a:ext uri="{FF2B5EF4-FFF2-40B4-BE49-F238E27FC236}">
                <a16:creationId xmlns:a16="http://schemas.microsoft.com/office/drawing/2014/main" id="{A1FF9559-4851-1E69-7BFF-1E1BDEE084C9}"/>
              </a:ext>
            </a:extLst>
          </p:cNvPr>
          <p:cNvGraphicFramePr>
            <a:graphicFrameLocks noGrp="1"/>
          </p:cNvGraphicFramePr>
          <p:nvPr/>
        </p:nvGraphicFramePr>
        <p:xfrm>
          <a:off x="503238" y="1049315"/>
          <a:ext cx="8243580" cy="3730525"/>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0">
                <a:tc>
                  <a:txBody>
                    <a:bodyPr/>
                    <a:lstStyle/>
                    <a:p>
                      <a:pPr algn="ctr">
                        <a:defRPr sz="800">
                          <a:latin typeface="Nexa Book"/>
                        </a:defRPr>
                      </a:pPr>
                      <a:r>
                        <a:rPr sz="700"/>
                        <a:t>Schick Hydro 5 Blade Sensitive Refills 16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8.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0">
                <a:tc>
                  <a:txBody>
                    <a:bodyPr/>
                    <a:lstStyle/>
                    <a:p>
                      <a:pPr algn="ctr">
                        <a:defRPr sz="800">
                          <a:latin typeface="Nexa Book"/>
                        </a:defRPr>
                      </a:pPr>
                      <a:r>
                        <a:rPr sz="700"/>
                        <a:t>Schick Hydro 3 Ultra Sensitive Refills 20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285FC96C-06E9-9D6B-2277-D46806247C91}"/>
              </a:ext>
            </a:extLst>
          </p:cNvPr>
          <p:cNvSpPr>
            <a:spLocks noGrp="1"/>
          </p:cNvSpPr>
          <p:nvPr>
            <p:ph type="body" sz="quarter" idx="17"/>
          </p:nvPr>
        </p:nvSpPr>
        <p:spPr>
          <a:xfrm>
            <a:off x="0" y="4734106"/>
            <a:ext cx="4572000" cy="222878"/>
          </a:xfrm>
        </p:spPr>
        <p:txBody>
          <a:bodyPr/>
          <a:lstStyle/>
          <a:p>
            <a:r>
              <a:t>DATA SOURCE: Consumer Test | July 2025</a:t>
            </a:r>
          </a:p>
        </p:txBody>
      </p:sp>
    </p:spTree>
    <p:extLst>
      <p:ext uri="{BB962C8B-B14F-4D97-AF65-F5344CB8AC3E}">
        <p14:creationId xmlns:p14="http://schemas.microsoft.com/office/powerpoint/2010/main" val="31462599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21786C5-D6DC-4DB9-87D8-B24F55D31899}">
  <ds:schemaRefs>
    <ds:schemaRef ds:uri="http://schemas.microsoft.com/sharepoint/v3/contenttype/forms"/>
  </ds:schemaRefs>
</ds:datastoreItem>
</file>

<file path=customXml/itemProps2.xml><?xml version="1.0" encoding="utf-8"?>
<ds:datastoreItem xmlns:ds="http://schemas.openxmlformats.org/officeDocument/2006/customXml" ds:itemID="{09069D81-7D0D-4539-9F54-7E79AD6EBD13}">
  <ds:schemaRefs>
    <ds:schemaRef ds:uri="http://schemas.microsoft.com/office/infopath/2007/PartnerControls"/>
    <ds:schemaRef ds:uri="http://schemas.microsoft.com/office/2006/metadata/properties"/>
    <ds:schemaRef ds:uri="474cf4e4-8a51-432b-9e1b-0ea607ac38ff"/>
    <ds:schemaRef ds:uri="http://schemas.microsoft.com/office/2006/documentManagement/types"/>
    <ds:schemaRef ds:uri="http://schemas.openxmlformats.org/package/2006/metadata/core-properties"/>
    <ds:schemaRef ds:uri="http://purl.org/dc/elements/1.1/"/>
    <ds:schemaRef ds:uri="http://purl.org/dc/terms/"/>
    <ds:schemaRef ds:uri="0ad93b7f-b0cd-4c46-aaaf-ff14495948cf"/>
    <ds:schemaRef ds:uri="http://www.w3.org/XML/1998/namespace"/>
    <ds:schemaRef ds:uri="http://purl.org/dc/dcmitype/"/>
  </ds:schemaRefs>
</ds:datastoreItem>
</file>

<file path=customXml/itemProps3.xml><?xml version="1.0" encoding="utf-8"?>
<ds:datastoreItem xmlns:ds="http://schemas.openxmlformats.org/officeDocument/2006/customXml" ds:itemID="{3D75CFAE-90C7-4A64-8937-E4AA45CA8D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2019</Words>
  <Application>Microsoft Office PowerPoint</Application>
  <PresentationFormat>On-screen Show (16:9)</PresentationFormat>
  <Paragraphs>607</Paragraphs>
  <Slides>20</Slides>
  <Notes>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30" baseType="lpstr">
      <vt:lpstr>Aptos</vt:lpstr>
      <vt:lpstr>Arial</vt:lpstr>
      <vt:lpstr>Nexa</vt:lpstr>
      <vt:lpstr>Nexa Bold</vt:lpstr>
      <vt:lpstr>Nexa Bold (Headings)</vt:lpstr>
      <vt:lpstr>Nexa Book</vt:lpstr>
      <vt:lpstr>Nexa Book Italic</vt:lpstr>
      <vt:lpstr>Open Sans</vt:lpstr>
      <vt:lpstr>PricingOne Light Template Oct 2024</vt:lpstr>
      <vt:lpstr>think-cell Slide</vt:lpstr>
      <vt:lpstr>Innovation summary (Replace with SO WHAT)</vt:lpstr>
      <vt:lpstr>Innovation ranking (Replace with SO WHAT)</vt:lpstr>
      <vt:lpstr>Innovation potential (Replace with SO WHAT)</vt:lpstr>
      <vt:lpstr>Innovation sourcing (Replace with SO WHAT)</vt:lpstr>
      <vt:lpstr>Innovation summary (Replace with SO WHAT)</vt:lpstr>
      <vt:lpstr>Innovation ranking (Replace with SO WHAT)</vt:lpstr>
      <vt:lpstr>Innovation potential (Replace with SO WHAT)</vt:lpstr>
      <vt:lpstr>Innovation sourcing (Replace with SO WHAT)</vt:lpstr>
      <vt:lpstr>Innovation summary (Replace with SO WHAT)</vt:lpstr>
      <vt:lpstr>Innovation ranking (Replace with SO WHAT)</vt:lpstr>
      <vt:lpstr>Innovation potential (Replace with SO WHAT)</vt:lpstr>
      <vt:lpstr>Innovation sourcing (Replace with SO WHAT)</vt:lpstr>
      <vt:lpstr>Innovation summary (Replace with SO WHAT)</vt:lpstr>
      <vt:lpstr>Innovation ranking (Replace with SO WHAT)</vt:lpstr>
      <vt:lpstr>Innovation potential (Replace with SO WHAT)</vt:lpstr>
      <vt:lpstr>Innovation sourcing (Replace with SO WHAT)</vt:lpstr>
      <vt:lpstr>Innovation summary (Replace with SO WHAT)</vt:lpstr>
      <vt:lpstr>Innovation ranking (Replace with SO WHAT)</vt:lpstr>
      <vt:lpstr>Innovation potential (Replace with SO WHAT)</vt:lpstr>
      <vt:lpstr>Innovation sourcin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17</cp:revision>
  <dcterms:created xsi:type="dcterms:W3CDTF">2024-07-08T12:20:01Z</dcterms:created>
  <dcterms:modified xsi:type="dcterms:W3CDTF">2025-08-19T13:44: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